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23"/>
  </p:notesMasterIdLst>
  <p:sldIdLst>
    <p:sldId id="256" r:id="rId2"/>
    <p:sldId id="265" r:id="rId3"/>
    <p:sldId id="258" r:id="rId4"/>
    <p:sldId id="260" r:id="rId5"/>
    <p:sldId id="275" r:id="rId6"/>
    <p:sldId id="266" r:id="rId7"/>
    <p:sldId id="276" r:id="rId8"/>
    <p:sldId id="263" r:id="rId9"/>
    <p:sldId id="261" r:id="rId10"/>
    <p:sldId id="262" r:id="rId11"/>
    <p:sldId id="259" r:id="rId12"/>
    <p:sldId id="268" r:id="rId13"/>
    <p:sldId id="257" r:id="rId14"/>
    <p:sldId id="264" r:id="rId15"/>
    <p:sldId id="273" r:id="rId16"/>
    <p:sldId id="269" r:id="rId17"/>
    <p:sldId id="274" r:id="rId18"/>
    <p:sldId id="270" r:id="rId19"/>
    <p:sldId id="267" r:id="rId20"/>
    <p:sldId id="271" r:id="rId21"/>
    <p:sldId id="272"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6E3AA4-9A73-4F9D-A541-147DF78E7425}" v="631" dt="2020-04-12T13:15:04.5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2" autoAdjust="0"/>
    <p:restoredTop sz="94660"/>
  </p:normalViewPr>
  <p:slideViewPr>
    <p:cSldViewPr snapToGrid="0">
      <p:cViewPr varScale="1">
        <p:scale>
          <a:sx n="122" d="100"/>
          <a:sy n="122" d="100"/>
        </p:scale>
        <p:origin x="96" y="2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ian Stallmann" userId="87adb65ad37b5729" providerId="LiveId" clId="{856E3AA4-9A73-4F9D-A541-147DF78E7425}"/>
    <pc:docChg chg="undo custSel addSld delSld modSld sldOrd addSection modSection">
      <pc:chgData name="Florian Stallmann" userId="87adb65ad37b5729" providerId="LiveId" clId="{856E3AA4-9A73-4F9D-A541-147DF78E7425}" dt="2020-04-12T13:15:25.493" v="4630" actId="1076"/>
      <pc:docMkLst>
        <pc:docMk/>
      </pc:docMkLst>
      <pc:sldChg chg="modSp">
        <pc:chgData name="Florian Stallmann" userId="87adb65ad37b5729" providerId="LiveId" clId="{856E3AA4-9A73-4F9D-A541-147DF78E7425}" dt="2020-04-12T08:18:28.118" v="253" actId="790"/>
        <pc:sldMkLst>
          <pc:docMk/>
          <pc:sldMk cId="1328028575" sldId="256"/>
        </pc:sldMkLst>
        <pc:spChg chg="mod">
          <ac:chgData name="Florian Stallmann" userId="87adb65ad37b5729" providerId="LiveId" clId="{856E3AA4-9A73-4F9D-A541-147DF78E7425}" dt="2020-04-12T08:18:28.118" v="253" actId="790"/>
          <ac:spMkLst>
            <pc:docMk/>
            <pc:sldMk cId="1328028575" sldId="256"/>
            <ac:spMk id="4" creationId="{EF97E3DC-D649-402F-8C47-2BB766F2F884}"/>
          </ac:spMkLst>
        </pc:spChg>
      </pc:sldChg>
      <pc:sldChg chg="addSp modSp">
        <pc:chgData name="Florian Stallmann" userId="87adb65ad37b5729" providerId="LiveId" clId="{856E3AA4-9A73-4F9D-A541-147DF78E7425}" dt="2020-04-12T08:47:38.957" v="1784" actId="14100"/>
        <pc:sldMkLst>
          <pc:docMk/>
          <pc:sldMk cId="4134935296" sldId="257"/>
        </pc:sldMkLst>
        <pc:spChg chg="mod">
          <ac:chgData name="Florian Stallmann" userId="87adb65ad37b5729" providerId="LiveId" clId="{856E3AA4-9A73-4F9D-A541-147DF78E7425}" dt="2020-04-12T08:20:07.739" v="479" actId="20577"/>
          <ac:spMkLst>
            <pc:docMk/>
            <pc:sldMk cId="4134935296" sldId="257"/>
            <ac:spMk id="4" creationId="{AC185D02-2AAD-4957-8274-4674101E9355}"/>
          </ac:spMkLst>
        </pc:spChg>
        <pc:spChg chg="add mod">
          <ac:chgData name="Florian Stallmann" userId="87adb65ad37b5729" providerId="LiveId" clId="{856E3AA4-9A73-4F9D-A541-147DF78E7425}" dt="2020-04-12T08:47:38.957" v="1784" actId="14100"/>
          <ac:spMkLst>
            <pc:docMk/>
            <pc:sldMk cId="4134935296" sldId="257"/>
            <ac:spMk id="5" creationId="{87750DBB-08C1-4C85-8400-D16B486790C3}"/>
          </ac:spMkLst>
        </pc:spChg>
        <pc:picChg chg="add mod">
          <ac:chgData name="Florian Stallmann" userId="87adb65ad37b5729" providerId="LiveId" clId="{856E3AA4-9A73-4F9D-A541-147DF78E7425}" dt="2020-04-12T08:47:31.402" v="1782" actId="1076"/>
          <ac:picMkLst>
            <pc:docMk/>
            <pc:sldMk cId="4134935296" sldId="257"/>
            <ac:picMk id="2" creationId="{A6FE7CED-790E-40BC-972E-3FFDFAFBAA31}"/>
          </ac:picMkLst>
        </pc:picChg>
      </pc:sldChg>
      <pc:sldChg chg="addSp delSp modSp">
        <pc:chgData name="Florian Stallmann" userId="87adb65ad37b5729" providerId="LiveId" clId="{856E3AA4-9A73-4F9D-A541-147DF78E7425}" dt="2020-04-12T08:41:25.227" v="1519" actId="1076"/>
        <pc:sldMkLst>
          <pc:docMk/>
          <pc:sldMk cId="3783324837" sldId="258"/>
        </pc:sldMkLst>
        <pc:spChg chg="mod">
          <ac:chgData name="Florian Stallmann" userId="87adb65ad37b5729" providerId="LiveId" clId="{856E3AA4-9A73-4F9D-A541-147DF78E7425}" dt="2020-04-12T08:18:36.114" v="269" actId="20577"/>
          <ac:spMkLst>
            <pc:docMk/>
            <pc:sldMk cId="3783324837" sldId="258"/>
            <ac:spMk id="4" creationId="{29886C5F-6436-48D8-B536-C84031C2EE08}"/>
          </ac:spMkLst>
        </pc:spChg>
        <pc:spChg chg="add mod">
          <ac:chgData name="Florian Stallmann" userId="87adb65ad37b5729" providerId="LiveId" clId="{856E3AA4-9A73-4F9D-A541-147DF78E7425}" dt="2020-04-12T08:32:04.950" v="1151" actId="1076"/>
          <ac:spMkLst>
            <pc:docMk/>
            <pc:sldMk cId="3783324837" sldId="258"/>
            <ac:spMk id="6" creationId="{51CB6955-BDD7-44AE-B192-A5E56CD2DAA9}"/>
          </ac:spMkLst>
        </pc:spChg>
        <pc:spChg chg="add mod">
          <ac:chgData name="Florian Stallmann" userId="87adb65ad37b5729" providerId="LiveId" clId="{856E3AA4-9A73-4F9D-A541-147DF78E7425}" dt="2020-04-12T08:32:28.406" v="1160" actId="1076"/>
          <ac:spMkLst>
            <pc:docMk/>
            <pc:sldMk cId="3783324837" sldId="258"/>
            <ac:spMk id="7" creationId="{1F49078F-FDBB-411D-95AB-8EE3E83F9A69}"/>
          </ac:spMkLst>
        </pc:spChg>
        <pc:spChg chg="add mod">
          <ac:chgData name="Florian Stallmann" userId="87adb65ad37b5729" providerId="LiveId" clId="{856E3AA4-9A73-4F9D-A541-147DF78E7425}" dt="2020-04-12T08:32:23.086" v="1158" actId="1076"/>
          <ac:spMkLst>
            <pc:docMk/>
            <pc:sldMk cId="3783324837" sldId="258"/>
            <ac:spMk id="8" creationId="{60C1B7E7-4E3C-47DE-8029-4B77C86CA0A0}"/>
          </ac:spMkLst>
        </pc:spChg>
        <pc:spChg chg="add mod">
          <ac:chgData name="Florian Stallmann" userId="87adb65ad37b5729" providerId="LiveId" clId="{856E3AA4-9A73-4F9D-A541-147DF78E7425}" dt="2020-04-12T08:41:25.227" v="1519" actId="1076"/>
          <ac:spMkLst>
            <pc:docMk/>
            <pc:sldMk cId="3783324837" sldId="258"/>
            <ac:spMk id="10" creationId="{22C3487A-63F4-4486-8ACE-70D9039A33A6}"/>
          </ac:spMkLst>
        </pc:spChg>
        <pc:picChg chg="add mod">
          <ac:chgData name="Florian Stallmann" userId="87adb65ad37b5729" providerId="LiveId" clId="{856E3AA4-9A73-4F9D-A541-147DF78E7425}" dt="2020-04-12T08:32:25.678" v="1159" actId="1076"/>
          <ac:picMkLst>
            <pc:docMk/>
            <pc:sldMk cId="3783324837" sldId="258"/>
            <ac:picMk id="2" creationId="{E3A33437-7E5E-4986-B175-2FA0A653D80C}"/>
          </ac:picMkLst>
        </pc:picChg>
        <pc:picChg chg="add del mod">
          <ac:chgData name="Florian Stallmann" userId="87adb65ad37b5729" providerId="LiveId" clId="{856E3AA4-9A73-4F9D-A541-147DF78E7425}" dt="2020-04-12T08:31:57.290" v="1148" actId="478"/>
          <ac:picMkLst>
            <pc:docMk/>
            <pc:sldMk cId="3783324837" sldId="258"/>
            <ac:picMk id="3" creationId="{7D366737-B413-47D5-B113-494DA3A9F353}"/>
          </ac:picMkLst>
        </pc:picChg>
        <pc:picChg chg="del mod">
          <ac:chgData name="Florian Stallmann" userId="87adb65ad37b5729" providerId="LiveId" clId="{856E3AA4-9A73-4F9D-A541-147DF78E7425}" dt="2020-04-12T08:30:48.534" v="1062" actId="478"/>
          <ac:picMkLst>
            <pc:docMk/>
            <pc:sldMk cId="3783324837" sldId="258"/>
            <ac:picMk id="5" creationId="{CBD30F2F-537D-4B59-BFAA-85AB73B0A9A8}"/>
          </ac:picMkLst>
        </pc:picChg>
        <pc:picChg chg="add mod modCrop">
          <ac:chgData name="Florian Stallmann" userId="87adb65ad37b5729" providerId="LiveId" clId="{856E3AA4-9A73-4F9D-A541-147DF78E7425}" dt="2020-04-12T08:41:25.227" v="1519" actId="1076"/>
          <ac:picMkLst>
            <pc:docMk/>
            <pc:sldMk cId="3783324837" sldId="258"/>
            <ac:picMk id="9" creationId="{735392A8-37A0-449A-B745-221CB9F0FC95}"/>
          </ac:picMkLst>
        </pc:picChg>
        <pc:picChg chg="add mod">
          <ac:chgData name="Florian Stallmann" userId="87adb65ad37b5729" providerId="LiveId" clId="{856E3AA4-9A73-4F9D-A541-147DF78E7425}" dt="2020-04-12T08:32:02.904" v="1150" actId="1076"/>
          <ac:picMkLst>
            <pc:docMk/>
            <pc:sldMk cId="3783324837" sldId="258"/>
            <ac:picMk id="11" creationId="{4494E79F-6A6C-4FC0-8299-78AD4A2BF96A}"/>
          </ac:picMkLst>
        </pc:picChg>
      </pc:sldChg>
      <pc:sldChg chg="addSp delSp modSp new">
        <pc:chgData name="Florian Stallmann" userId="87adb65ad37b5729" providerId="LiveId" clId="{856E3AA4-9A73-4F9D-A541-147DF78E7425}" dt="2020-04-12T13:07:12.832" v="4089" actId="14100"/>
        <pc:sldMkLst>
          <pc:docMk/>
          <pc:sldMk cId="1034647483" sldId="259"/>
        </pc:sldMkLst>
        <pc:spChg chg="mod">
          <ac:chgData name="Florian Stallmann" userId="87adb65ad37b5729" providerId="LiveId" clId="{856E3AA4-9A73-4F9D-A541-147DF78E7425}" dt="2020-04-12T08:19:57.246" v="461" actId="20577"/>
          <ac:spMkLst>
            <pc:docMk/>
            <pc:sldMk cId="1034647483" sldId="259"/>
            <ac:spMk id="2" creationId="{9533EF00-2B50-4F2C-920E-407267A8D16A}"/>
          </ac:spMkLst>
        </pc:spChg>
        <pc:spChg chg="add mod">
          <ac:chgData name="Florian Stallmann" userId="87adb65ad37b5729" providerId="LiveId" clId="{856E3AA4-9A73-4F9D-A541-147DF78E7425}" dt="2020-04-12T13:07:01.081" v="4084" actId="14100"/>
          <ac:spMkLst>
            <pc:docMk/>
            <pc:sldMk cId="1034647483" sldId="259"/>
            <ac:spMk id="21" creationId="{C30C8485-A5C8-4D82-AB6C-62E03891C1EF}"/>
          </ac:spMkLst>
        </pc:spChg>
        <pc:picChg chg="add mod">
          <ac:chgData name="Florian Stallmann" userId="87adb65ad37b5729" providerId="LiveId" clId="{856E3AA4-9A73-4F9D-A541-147DF78E7425}" dt="2020-04-12T13:04:42.098" v="3899" actId="1076"/>
          <ac:picMkLst>
            <pc:docMk/>
            <pc:sldMk cId="1034647483" sldId="259"/>
            <ac:picMk id="3" creationId="{BD2449E8-EB02-481F-8E59-50B032835A3D}"/>
          </ac:picMkLst>
        </pc:picChg>
        <pc:picChg chg="add mod">
          <ac:chgData name="Florian Stallmann" userId="87adb65ad37b5729" providerId="LiveId" clId="{856E3AA4-9A73-4F9D-A541-147DF78E7425}" dt="2020-04-12T13:04:21.129" v="3889" actId="1076"/>
          <ac:picMkLst>
            <pc:docMk/>
            <pc:sldMk cId="1034647483" sldId="259"/>
            <ac:picMk id="4" creationId="{27462A0E-1DF8-4F64-9186-727F3604BAFF}"/>
          </ac:picMkLst>
        </pc:picChg>
        <pc:picChg chg="add del mod">
          <ac:chgData name="Florian Stallmann" userId="87adb65ad37b5729" providerId="LiveId" clId="{856E3AA4-9A73-4F9D-A541-147DF78E7425}" dt="2020-04-12T13:03:02.281" v="3878" actId="478"/>
          <ac:picMkLst>
            <pc:docMk/>
            <pc:sldMk cId="1034647483" sldId="259"/>
            <ac:picMk id="5" creationId="{26103D29-F915-46C3-9938-131036C55A41}"/>
          </ac:picMkLst>
        </pc:picChg>
        <pc:picChg chg="add del mod">
          <ac:chgData name="Florian Stallmann" userId="87adb65ad37b5729" providerId="LiveId" clId="{856E3AA4-9A73-4F9D-A541-147DF78E7425}" dt="2020-04-12T13:03:43.091" v="3881" actId="478"/>
          <ac:picMkLst>
            <pc:docMk/>
            <pc:sldMk cId="1034647483" sldId="259"/>
            <ac:picMk id="6" creationId="{6A0F7F6F-BC96-4104-B863-71F614925179}"/>
          </ac:picMkLst>
        </pc:picChg>
        <pc:picChg chg="add mod">
          <ac:chgData name="Florian Stallmann" userId="87adb65ad37b5729" providerId="LiveId" clId="{856E3AA4-9A73-4F9D-A541-147DF78E7425}" dt="2020-04-12T13:07:07.458" v="4086" actId="1076"/>
          <ac:picMkLst>
            <pc:docMk/>
            <pc:sldMk cId="1034647483" sldId="259"/>
            <ac:picMk id="7" creationId="{C48B4069-8CAB-4212-9DA6-DDAB7967637B}"/>
          </ac:picMkLst>
        </pc:picChg>
        <pc:picChg chg="add mod">
          <ac:chgData name="Florian Stallmann" userId="87adb65ad37b5729" providerId="LiveId" clId="{856E3AA4-9A73-4F9D-A541-147DF78E7425}" dt="2020-04-12T13:07:08.554" v="4087" actId="1076"/>
          <ac:picMkLst>
            <pc:docMk/>
            <pc:sldMk cId="1034647483" sldId="259"/>
            <ac:picMk id="8" creationId="{032CAFF8-4407-431E-93B6-8FE6BA4EE620}"/>
          </ac:picMkLst>
        </pc:picChg>
        <pc:picChg chg="add mod">
          <ac:chgData name="Florian Stallmann" userId="87adb65ad37b5729" providerId="LiveId" clId="{856E3AA4-9A73-4F9D-A541-147DF78E7425}" dt="2020-04-12T13:07:06.462" v="4085" actId="1076"/>
          <ac:picMkLst>
            <pc:docMk/>
            <pc:sldMk cId="1034647483" sldId="259"/>
            <ac:picMk id="9" creationId="{3663A837-FF8C-415F-9359-EF6093EDB181}"/>
          </ac:picMkLst>
        </pc:picChg>
        <pc:cxnChg chg="add mod">
          <ac:chgData name="Florian Stallmann" userId="87adb65ad37b5729" providerId="LiveId" clId="{856E3AA4-9A73-4F9D-A541-147DF78E7425}" dt="2020-04-12T13:07:12.832" v="4089" actId="14100"/>
          <ac:cxnSpMkLst>
            <pc:docMk/>
            <pc:sldMk cId="1034647483" sldId="259"/>
            <ac:cxnSpMk id="11" creationId="{A5AEB315-AF39-4FBC-B2E0-67D885C24070}"/>
          </ac:cxnSpMkLst>
        </pc:cxnChg>
        <pc:cxnChg chg="add mod">
          <ac:chgData name="Florian Stallmann" userId="87adb65ad37b5729" providerId="LiveId" clId="{856E3AA4-9A73-4F9D-A541-147DF78E7425}" dt="2020-04-12T13:04:45.269" v="3900" actId="14100"/>
          <ac:cxnSpMkLst>
            <pc:docMk/>
            <pc:sldMk cId="1034647483" sldId="259"/>
            <ac:cxnSpMk id="12" creationId="{14181C82-C1A3-4607-88BE-520F54D9796A}"/>
          </ac:cxnSpMkLst>
        </pc:cxnChg>
        <pc:cxnChg chg="add mod">
          <ac:chgData name="Florian Stallmann" userId="87adb65ad37b5729" providerId="LiveId" clId="{856E3AA4-9A73-4F9D-A541-147DF78E7425}" dt="2020-04-12T13:04:51.514" v="3904" actId="1076"/>
          <ac:cxnSpMkLst>
            <pc:docMk/>
            <pc:sldMk cId="1034647483" sldId="259"/>
            <ac:cxnSpMk id="15" creationId="{684FDD4B-75E5-457A-8170-BC4DDFFE014D}"/>
          </ac:cxnSpMkLst>
        </pc:cxnChg>
        <pc:cxnChg chg="add mod">
          <ac:chgData name="Florian Stallmann" userId="87adb65ad37b5729" providerId="LiveId" clId="{856E3AA4-9A73-4F9D-A541-147DF78E7425}" dt="2020-04-12T13:07:10.443" v="4088" actId="14100"/>
          <ac:cxnSpMkLst>
            <pc:docMk/>
            <pc:sldMk cId="1034647483" sldId="259"/>
            <ac:cxnSpMk id="17" creationId="{F14CE581-BC47-416B-81B3-F692705DA692}"/>
          </ac:cxnSpMkLst>
        </pc:cxnChg>
      </pc:sldChg>
      <pc:sldChg chg="addSp delSp modSp new">
        <pc:chgData name="Florian Stallmann" userId="87adb65ad37b5729" providerId="LiveId" clId="{856E3AA4-9A73-4F9D-A541-147DF78E7425}" dt="2020-04-12T08:56:38.017" v="2928" actId="20577"/>
        <pc:sldMkLst>
          <pc:docMk/>
          <pc:sldMk cId="2418446037" sldId="260"/>
        </pc:sldMkLst>
        <pc:spChg chg="mod">
          <ac:chgData name="Florian Stallmann" userId="87adb65ad37b5729" providerId="LiveId" clId="{856E3AA4-9A73-4F9D-A541-147DF78E7425}" dt="2020-04-12T08:18:41.221" v="277" actId="20577"/>
          <ac:spMkLst>
            <pc:docMk/>
            <pc:sldMk cId="2418446037" sldId="260"/>
            <ac:spMk id="2" creationId="{7560A9D7-2B39-48DE-BC4E-6C59BADFDDAA}"/>
          </ac:spMkLst>
        </pc:spChg>
        <pc:spChg chg="add del mod">
          <ac:chgData name="Florian Stallmann" userId="87adb65ad37b5729" providerId="LiveId" clId="{856E3AA4-9A73-4F9D-A541-147DF78E7425}" dt="2020-04-12T08:53:55.254" v="2459" actId="478"/>
          <ac:spMkLst>
            <pc:docMk/>
            <pc:sldMk cId="2418446037" sldId="260"/>
            <ac:spMk id="3" creationId="{9FD4B19A-C836-4F82-9392-73772680E99D}"/>
          </ac:spMkLst>
        </pc:spChg>
        <pc:spChg chg="add mod">
          <ac:chgData name="Florian Stallmann" userId="87adb65ad37b5729" providerId="LiveId" clId="{856E3AA4-9A73-4F9D-A541-147DF78E7425}" dt="2020-04-12T08:55:05.110" v="2699" actId="1076"/>
          <ac:spMkLst>
            <pc:docMk/>
            <pc:sldMk cId="2418446037" sldId="260"/>
            <ac:spMk id="7" creationId="{43555DEB-14DD-4101-A1AD-7B9CF59926CD}"/>
          </ac:spMkLst>
        </pc:spChg>
        <pc:spChg chg="add mod">
          <ac:chgData name="Florian Stallmann" userId="87adb65ad37b5729" providerId="LiveId" clId="{856E3AA4-9A73-4F9D-A541-147DF78E7425}" dt="2020-04-12T08:55:41.502" v="2716" actId="1076"/>
          <ac:spMkLst>
            <pc:docMk/>
            <pc:sldMk cId="2418446037" sldId="260"/>
            <ac:spMk id="10" creationId="{5B1A18FF-FDBD-40AB-9754-9BBA6A568746}"/>
          </ac:spMkLst>
        </pc:spChg>
        <pc:spChg chg="add mod">
          <ac:chgData name="Florian Stallmann" userId="87adb65ad37b5729" providerId="LiveId" clId="{856E3AA4-9A73-4F9D-A541-147DF78E7425}" dt="2020-04-12T08:56:38.017" v="2928" actId="20577"/>
          <ac:spMkLst>
            <pc:docMk/>
            <pc:sldMk cId="2418446037" sldId="260"/>
            <ac:spMk id="11" creationId="{3960A182-A26C-427B-B9FE-BF2F2965CB33}"/>
          </ac:spMkLst>
        </pc:spChg>
        <pc:picChg chg="add mod">
          <ac:chgData name="Florian Stallmann" userId="87adb65ad37b5729" providerId="LiveId" clId="{856E3AA4-9A73-4F9D-A541-147DF78E7425}" dt="2020-04-12T08:55:10.130" v="2700" actId="1076"/>
          <ac:picMkLst>
            <pc:docMk/>
            <pc:sldMk cId="2418446037" sldId="260"/>
            <ac:picMk id="6" creationId="{C9F2AB67-DBAE-4A31-9888-FEE7F613465B}"/>
          </ac:picMkLst>
        </pc:picChg>
        <pc:picChg chg="add mod">
          <ac:chgData name="Florian Stallmann" userId="87adb65ad37b5729" providerId="LiveId" clId="{856E3AA4-9A73-4F9D-A541-147DF78E7425}" dt="2020-04-12T08:55:02.968" v="2698" actId="1076"/>
          <ac:picMkLst>
            <pc:docMk/>
            <pc:sldMk cId="2418446037" sldId="260"/>
            <ac:picMk id="8" creationId="{AB220F42-225D-4636-B1CC-C8159FD2ADDA}"/>
          </ac:picMkLst>
        </pc:picChg>
        <pc:picChg chg="add mod">
          <ac:chgData name="Florian Stallmann" userId="87adb65ad37b5729" providerId="LiveId" clId="{856E3AA4-9A73-4F9D-A541-147DF78E7425}" dt="2020-04-12T08:56:33.437" v="2923" actId="1076"/>
          <ac:picMkLst>
            <pc:docMk/>
            <pc:sldMk cId="2418446037" sldId="260"/>
            <ac:picMk id="9" creationId="{6BA3F351-533C-4CDE-9357-94FF1F75B9A2}"/>
          </ac:picMkLst>
        </pc:picChg>
        <pc:cxnChg chg="add del mod">
          <ac:chgData name="Florian Stallmann" userId="87adb65ad37b5729" providerId="LiveId" clId="{856E3AA4-9A73-4F9D-A541-147DF78E7425}" dt="2020-04-12T08:53:55.254" v="2459" actId="478"/>
          <ac:cxnSpMkLst>
            <pc:docMk/>
            <pc:sldMk cId="2418446037" sldId="260"/>
            <ac:cxnSpMk id="4" creationId="{41EEC669-90BE-4664-BDC4-BC9811E761DF}"/>
          </ac:cxnSpMkLst>
        </pc:cxnChg>
        <pc:cxnChg chg="add del mod">
          <ac:chgData name="Florian Stallmann" userId="87adb65ad37b5729" providerId="LiveId" clId="{856E3AA4-9A73-4F9D-A541-147DF78E7425}" dt="2020-04-12T08:53:55.254" v="2459" actId="478"/>
          <ac:cxnSpMkLst>
            <pc:docMk/>
            <pc:sldMk cId="2418446037" sldId="260"/>
            <ac:cxnSpMk id="5" creationId="{16354211-EAEC-4248-A65F-E93A9434D135}"/>
          </ac:cxnSpMkLst>
        </pc:cxnChg>
      </pc:sldChg>
      <pc:sldChg chg="addSp delSp modSp new">
        <pc:chgData name="Florian Stallmann" userId="87adb65ad37b5729" providerId="LiveId" clId="{856E3AA4-9A73-4F9D-A541-147DF78E7425}" dt="2020-04-12T08:44:58.196" v="1650" actId="20577"/>
        <pc:sldMkLst>
          <pc:docMk/>
          <pc:sldMk cId="4061287477" sldId="261"/>
        </pc:sldMkLst>
        <pc:spChg chg="mod">
          <ac:chgData name="Florian Stallmann" userId="87adb65ad37b5729" providerId="LiveId" clId="{856E3AA4-9A73-4F9D-A541-147DF78E7425}" dt="2020-04-12T08:19:22.141" v="382" actId="20577"/>
          <ac:spMkLst>
            <pc:docMk/>
            <pc:sldMk cId="4061287477" sldId="261"/>
            <ac:spMk id="2" creationId="{2AFEBF4F-C1A2-4F74-8473-F8DBE74B7AA5}"/>
          </ac:spMkLst>
        </pc:spChg>
        <pc:spChg chg="add mod">
          <ac:chgData name="Florian Stallmann" userId="87adb65ad37b5729" providerId="LiveId" clId="{856E3AA4-9A73-4F9D-A541-147DF78E7425}" dt="2020-04-12T08:44:58.196" v="1650" actId="20577"/>
          <ac:spMkLst>
            <pc:docMk/>
            <pc:sldMk cId="4061287477" sldId="261"/>
            <ac:spMk id="5" creationId="{211ED441-CB4B-4F2E-8B06-807DB93B2465}"/>
          </ac:spMkLst>
        </pc:spChg>
        <pc:picChg chg="add">
          <ac:chgData name="Florian Stallmann" userId="87adb65ad37b5729" providerId="LiveId" clId="{856E3AA4-9A73-4F9D-A541-147DF78E7425}" dt="2020-04-12T08:41:19.869" v="1518"/>
          <ac:picMkLst>
            <pc:docMk/>
            <pc:sldMk cId="4061287477" sldId="261"/>
            <ac:picMk id="3" creationId="{CAA70878-2C55-43CD-B6E3-31B348098742}"/>
          </ac:picMkLst>
        </pc:picChg>
        <pc:picChg chg="add del mod">
          <ac:chgData name="Florian Stallmann" userId="87adb65ad37b5729" providerId="LiveId" clId="{856E3AA4-9A73-4F9D-A541-147DF78E7425}" dt="2020-04-12T08:44:19.410" v="1640" actId="478"/>
          <ac:picMkLst>
            <pc:docMk/>
            <pc:sldMk cId="4061287477" sldId="261"/>
            <ac:picMk id="4" creationId="{5ADABED8-0D3D-40B5-982B-2587985B1C3D}"/>
          </ac:picMkLst>
        </pc:picChg>
        <pc:picChg chg="add mod">
          <ac:chgData name="Florian Stallmann" userId="87adb65ad37b5729" providerId="LiveId" clId="{856E3AA4-9A73-4F9D-A541-147DF78E7425}" dt="2020-04-12T08:44:31.707" v="1648" actId="1076"/>
          <ac:picMkLst>
            <pc:docMk/>
            <pc:sldMk cId="4061287477" sldId="261"/>
            <ac:picMk id="6" creationId="{5AD8015F-DAC5-41A1-93D8-C838DD677167}"/>
          </ac:picMkLst>
        </pc:picChg>
        <pc:picChg chg="add mod">
          <ac:chgData name="Florian Stallmann" userId="87adb65ad37b5729" providerId="LiveId" clId="{856E3AA4-9A73-4F9D-A541-147DF78E7425}" dt="2020-04-12T08:44:30.745" v="1647" actId="1076"/>
          <ac:picMkLst>
            <pc:docMk/>
            <pc:sldMk cId="4061287477" sldId="261"/>
            <ac:picMk id="7" creationId="{40E1B9E8-5DA5-44DE-B6F0-29E3CA80019F}"/>
          </ac:picMkLst>
        </pc:picChg>
      </pc:sldChg>
      <pc:sldChg chg="addSp delSp modSp new">
        <pc:chgData name="Florian Stallmann" userId="87adb65ad37b5729" providerId="LiveId" clId="{856E3AA4-9A73-4F9D-A541-147DF78E7425}" dt="2020-04-12T13:15:25.493" v="4630" actId="1076"/>
        <pc:sldMkLst>
          <pc:docMk/>
          <pc:sldMk cId="3287504615" sldId="262"/>
        </pc:sldMkLst>
        <pc:spChg chg="mod">
          <ac:chgData name="Florian Stallmann" userId="87adb65ad37b5729" providerId="LiveId" clId="{856E3AA4-9A73-4F9D-A541-147DF78E7425}" dt="2020-04-12T08:58:20.657" v="2999" actId="6549"/>
          <ac:spMkLst>
            <pc:docMk/>
            <pc:sldMk cId="3287504615" sldId="262"/>
            <ac:spMk id="2" creationId="{346EADC0-A598-4E0C-9738-4F50878096CF}"/>
          </ac:spMkLst>
        </pc:spChg>
        <pc:spChg chg="add del mod">
          <ac:chgData name="Florian Stallmann" userId="87adb65ad37b5729" providerId="LiveId" clId="{856E3AA4-9A73-4F9D-A541-147DF78E7425}" dt="2020-04-12T08:57:43.704" v="2980" actId="478"/>
          <ac:spMkLst>
            <pc:docMk/>
            <pc:sldMk cId="3287504615" sldId="262"/>
            <ac:spMk id="3" creationId="{1100AB09-B62E-4CC4-808B-82E096C656E7}"/>
          </ac:spMkLst>
        </pc:spChg>
        <pc:spChg chg="add mod">
          <ac:chgData name="Florian Stallmann" userId="87adb65ad37b5729" providerId="LiveId" clId="{856E3AA4-9A73-4F9D-A541-147DF78E7425}" dt="2020-04-12T08:57:48.747" v="2990"/>
          <ac:spMkLst>
            <pc:docMk/>
            <pc:sldMk cId="3287504615" sldId="262"/>
            <ac:spMk id="7" creationId="{B9E30B21-0C89-4597-AD35-A5E5C3F18CAC}"/>
          </ac:spMkLst>
        </pc:spChg>
        <pc:spChg chg="add mod modVis">
          <ac:chgData name="Florian Stallmann" userId="87adb65ad37b5729" providerId="LiveId" clId="{856E3AA4-9A73-4F9D-A541-147DF78E7425}" dt="2020-04-12T08:57:48.757" v="2995"/>
          <ac:spMkLst>
            <pc:docMk/>
            <pc:sldMk cId="3287504615" sldId="262"/>
            <ac:spMk id="8" creationId="{D9ADA29D-BC55-4A2D-92DA-9AB21D7DAE56}"/>
          </ac:spMkLst>
        </pc:spChg>
        <pc:spChg chg="add mod">
          <ac:chgData name="Florian Stallmann" userId="87adb65ad37b5729" providerId="LiveId" clId="{856E3AA4-9A73-4F9D-A541-147DF78E7425}" dt="2020-04-12T08:58:37.605" v="3008"/>
          <ac:spMkLst>
            <pc:docMk/>
            <pc:sldMk cId="3287504615" sldId="262"/>
            <ac:spMk id="10" creationId="{079D63F5-8F9D-4DCD-8B5D-5CF90F4DDA5E}"/>
          </ac:spMkLst>
        </pc:spChg>
        <pc:spChg chg="add mod modVis">
          <ac:chgData name="Florian Stallmann" userId="87adb65ad37b5729" providerId="LiveId" clId="{856E3AA4-9A73-4F9D-A541-147DF78E7425}" dt="2020-04-12T08:58:39.845" v="3025"/>
          <ac:spMkLst>
            <pc:docMk/>
            <pc:sldMk cId="3287504615" sldId="262"/>
            <ac:spMk id="11" creationId="{16995029-8782-4B21-A593-F13A11044AAE}"/>
          </ac:spMkLst>
        </pc:spChg>
        <pc:spChg chg="add mod">
          <ac:chgData name="Florian Stallmann" userId="87adb65ad37b5729" providerId="LiveId" clId="{856E3AA4-9A73-4F9D-A541-147DF78E7425}" dt="2020-04-12T09:13:07.193" v="3871" actId="1076"/>
          <ac:spMkLst>
            <pc:docMk/>
            <pc:sldMk cId="3287504615" sldId="262"/>
            <ac:spMk id="13" creationId="{6842E7D2-A753-44CD-B910-05D32DDF98FF}"/>
          </ac:spMkLst>
        </pc:spChg>
        <pc:spChg chg="add mod">
          <ac:chgData name="Florian Stallmann" userId="87adb65ad37b5729" providerId="LiveId" clId="{856E3AA4-9A73-4F9D-A541-147DF78E7425}" dt="2020-04-12T13:07:46.112" v="4106"/>
          <ac:spMkLst>
            <pc:docMk/>
            <pc:sldMk cId="3287504615" sldId="262"/>
            <ac:spMk id="14" creationId="{DB85824C-4EA4-49AB-8127-7B2098874A16}"/>
          </ac:spMkLst>
        </pc:spChg>
        <pc:spChg chg="add mod">
          <ac:chgData name="Florian Stallmann" userId="87adb65ad37b5729" providerId="LiveId" clId="{856E3AA4-9A73-4F9D-A541-147DF78E7425}" dt="2020-04-12T13:07:46.140" v="4111" actId="207"/>
          <ac:spMkLst>
            <pc:docMk/>
            <pc:sldMk cId="3287504615" sldId="262"/>
            <ac:spMk id="15" creationId="{1E3D9EDD-FA6B-4D8E-BE39-D611E51BD74B}"/>
          </ac:spMkLst>
        </pc:spChg>
        <pc:spChg chg="add mod">
          <ac:chgData name="Florian Stallmann" userId="87adb65ad37b5729" providerId="LiveId" clId="{856E3AA4-9A73-4F9D-A541-147DF78E7425}" dt="2020-04-12T13:07:46.139" v="4109" actId="207"/>
          <ac:spMkLst>
            <pc:docMk/>
            <pc:sldMk cId="3287504615" sldId="262"/>
            <ac:spMk id="16" creationId="{19A928D1-CCDD-4A4F-A1CB-DCF99FFC49E1}"/>
          </ac:spMkLst>
        </pc:spChg>
        <pc:spChg chg="add mod">
          <ac:chgData name="Florian Stallmann" userId="87adb65ad37b5729" providerId="LiveId" clId="{856E3AA4-9A73-4F9D-A541-147DF78E7425}" dt="2020-04-12T13:07:46.139" v="4110" actId="207"/>
          <ac:spMkLst>
            <pc:docMk/>
            <pc:sldMk cId="3287504615" sldId="262"/>
            <ac:spMk id="17" creationId="{D2E9A174-47DB-40A2-857C-9FC87EED8A37}"/>
          </ac:spMkLst>
        </pc:spChg>
        <pc:spChg chg="add mod">
          <ac:chgData name="Florian Stallmann" userId="87adb65ad37b5729" providerId="LiveId" clId="{856E3AA4-9A73-4F9D-A541-147DF78E7425}" dt="2020-04-12T13:08:04.629" v="4122"/>
          <ac:spMkLst>
            <pc:docMk/>
            <pc:sldMk cId="3287504615" sldId="262"/>
            <ac:spMk id="19" creationId="{A073F488-4B47-4A7F-BE0B-4D8CBF0B5C9F}"/>
          </ac:spMkLst>
        </pc:spChg>
        <pc:spChg chg="add mod modVis">
          <ac:chgData name="Florian Stallmann" userId="87adb65ad37b5729" providerId="LiveId" clId="{856E3AA4-9A73-4F9D-A541-147DF78E7425}" dt="2020-04-12T13:08:04.641" v="4127"/>
          <ac:spMkLst>
            <pc:docMk/>
            <pc:sldMk cId="3287504615" sldId="262"/>
            <ac:spMk id="20" creationId="{567F151B-DDC6-4329-9E42-1EA985CBA8EE}"/>
          </ac:spMkLst>
        </pc:spChg>
        <pc:spChg chg="add mod modVis">
          <ac:chgData name="Florian Stallmann" userId="87adb65ad37b5729" providerId="LiveId" clId="{856E3AA4-9A73-4F9D-A541-147DF78E7425}" dt="2020-04-12T13:15:04.496" v="4552"/>
          <ac:spMkLst>
            <pc:docMk/>
            <pc:sldMk cId="3287504615" sldId="262"/>
            <ac:spMk id="23" creationId="{48E4B4F5-D474-4A5A-8910-980E5CB8A582}"/>
          </ac:spMkLst>
        </pc:spChg>
        <pc:spChg chg="add mod modVis">
          <ac:chgData name="Florian Stallmann" userId="87adb65ad37b5729" providerId="LiveId" clId="{856E3AA4-9A73-4F9D-A541-147DF78E7425}" dt="2020-04-12T13:15:04.496" v="4552"/>
          <ac:spMkLst>
            <pc:docMk/>
            <pc:sldMk cId="3287504615" sldId="262"/>
            <ac:spMk id="24" creationId="{CB709B10-E808-4B37-B4ED-C280EABEEFB4}"/>
          </ac:spMkLst>
        </pc:spChg>
        <pc:spChg chg="add mod modVis">
          <ac:chgData name="Florian Stallmann" userId="87adb65ad37b5729" providerId="LiveId" clId="{856E3AA4-9A73-4F9D-A541-147DF78E7425}" dt="2020-04-12T13:15:04.496" v="4552"/>
          <ac:spMkLst>
            <pc:docMk/>
            <pc:sldMk cId="3287504615" sldId="262"/>
            <ac:spMk id="25" creationId="{2CBA7CF1-5DEB-4547-A53E-F12C8E74D6B8}"/>
          </ac:spMkLst>
        </pc:spChg>
        <pc:spChg chg="add mod modVis">
          <ac:chgData name="Florian Stallmann" userId="87adb65ad37b5729" providerId="LiveId" clId="{856E3AA4-9A73-4F9D-A541-147DF78E7425}" dt="2020-04-12T13:15:04.496" v="4552"/>
          <ac:spMkLst>
            <pc:docMk/>
            <pc:sldMk cId="3287504615" sldId="262"/>
            <ac:spMk id="26" creationId="{0AF650AF-1FE9-46A5-8D2A-5C5E6227F603}"/>
          </ac:spMkLst>
        </pc:spChg>
        <pc:spChg chg="add mod modVis">
          <ac:chgData name="Florian Stallmann" userId="87adb65ad37b5729" providerId="LiveId" clId="{856E3AA4-9A73-4F9D-A541-147DF78E7425}" dt="2020-04-12T13:15:04.496" v="4552"/>
          <ac:spMkLst>
            <pc:docMk/>
            <pc:sldMk cId="3287504615" sldId="262"/>
            <ac:spMk id="27" creationId="{9F3C7271-1E3A-4BE0-B510-F2B209E2CF43}"/>
          </ac:spMkLst>
        </pc:spChg>
        <pc:spChg chg="add mod modVis">
          <ac:chgData name="Florian Stallmann" userId="87adb65ad37b5729" providerId="LiveId" clId="{856E3AA4-9A73-4F9D-A541-147DF78E7425}" dt="2020-04-12T13:15:15.362" v="4600" actId="207"/>
          <ac:spMkLst>
            <pc:docMk/>
            <pc:sldMk cId="3287504615" sldId="262"/>
            <ac:spMk id="29" creationId="{CB9B508C-BAEB-40CD-9A7A-D0FCC5328FEB}"/>
          </ac:spMkLst>
        </pc:spChg>
        <pc:spChg chg="add mod modVis">
          <ac:chgData name="Florian Stallmann" userId="87adb65ad37b5729" providerId="LiveId" clId="{856E3AA4-9A73-4F9D-A541-147DF78E7425}" dt="2020-04-12T13:15:04.499" v="4559"/>
          <ac:spMkLst>
            <pc:docMk/>
            <pc:sldMk cId="3287504615" sldId="262"/>
            <ac:spMk id="30" creationId="{ECD86987-11BC-41A3-8B1D-DEA4C3CF08DD}"/>
          </ac:spMkLst>
        </pc:spChg>
        <pc:spChg chg="add mod modVis">
          <ac:chgData name="Florian Stallmann" userId="87adb65ad37b5729" providerId="LiveId" clId="{856E3AA4-9A73-4F9D-A541-147DF78E7425}" dt="2020-04-12T13:15:04.499" v="4559"/>
          <ac:spMkLst>
            <pc:docMk/>
            <pc:sldMk cId="3287504615" sldId="262"/>
            <ac:spMk id="31" creationId="{34F90D88-74E2-4FD1-8953-1979DAD70631}"/>
          </ac:spMkLst>
        </pc:spChg>
        <pc:spChg chg="add mod modVis">
          <ac:chgData name="Florian Stallmann" userId="87adb65ad37b5729" providerId="LiveId" clId="{856E3AA4-9A73-4F9D-A541-147DF78E7425}" dt="2020-04-12T13:15:04.499" v="4559"/>
          <ac:spMkLst>
            <pc:docMk/>
            <pc:sldMk cId="3287504615" sldId="262"/>
            <ac:spMk id="32" creationId="{0CE13BB5-FF75-4B3A-AA83-C3F7226B56E4}"/>
          </ac:spMkLst>
        </pc:spChg>
        <pc:spChg chg="add mod modVis">
          <ac:chgData name="Florian Stallmann" userId="87adb65ad37b5729" providerId="LiveId" clId="{856E3AA4-9A73-4F9D-A541-147DF78E7425}" dt="2020-04-12T13:15:04.499" v="4559"/>
          <ac:spMkLst>
            <pc:docMk/>
            <pc:sldMk cId="3287504615" sldId="262"/>
            <ac:spMk id="33" creationId="{901D7F8F-049F-4F4F-9D8D-03123698B541}"/>
          </ac:spMkLst>
        </pc:spChg>
        <pc:spChg chg="add mod modVis">
          <ac:chgData name="Florian Stallmann" userId="87adb65ad37b5729" providerId="LiveId" clId="{856E3AA4-9A73-4F9D-A541-147DF78E7425}" dt="2020-04-12T13:15:15.368" v="4602" actId="207"/>
          <ac:spMkLst>
            <pc:docMk/>
            <pc:sldMk cId="3287504615" sldId="262"/>
            <ac:spMk id="35" creationId="{1CCD1514-2BB1-420F-9807-4358CB741734}"/>
          </ac:spMkLst>
        </pc:spChg>
        <pc:spChg chg="add mod modVis">
          <ac:chgData name="Florian Stallmann" userId="87adb65ad37b5729" providerId="LiveId" clId="{856E3AA4-9A73-4F9D-A541-147DF78E7425}" dt="2020-04-12T13:15:15.371" v="4604" actId="207"/>
          <ac:spMkLst>
            <pc:docMk/>
            <pc:sldMk cId="3287504615" sldId="262"/>
            <ac:spMk id="36" creationId="{70292DD7-C51A-47A6-9965-9907CE2063F0}"/>
          </ac:spMkLst>
        </pc:spChg>
        <pc:spChg chg="add mod modVis">
          <ac:chgData name="Florian Stallmann" userId="87adb65ad37b5729" providerId="LiveId" clId="{856E3AA4-9A73-4F9D-A541-147DF78E7425}" dt="2020-04-12T13:15:04.510" v="4594"/>
          <ac:spMkLst>
            <pc:docMk/>
            <pc:sldMk cId="3287504615" sldId="262"/>
            <ac:spMk id="37" creationId="{0C1319FE-E7F6-461F-97D1-B086A1F80413}"/>
          </ac:spMkLst>
        </pc:spChg>
        <pc:spChg chg="add mod modVis">
          <ac:chgData name="Florian Stallmann" userId="87adb65ad37b5729" providerId="LiveId" clId="{856E3AA4-9A73-4F9D-A541-147DF78E7425}" dt="2020-04-12T13:15:04.510" v="4594"/>
          <ac:spMkLst>
            <pc:docMk/>
            <pc:sldMk cId="3287504615" sldId="262"/>
            <ac:spMk id="38" creationId="{6880618E-6E0A-468D-84D7-CF3A16431669}"/>
          </ac:spMkLst>
        </pc:spChg>
        <pc:spChg chg="add mod modVis">
          <ac:chgData name="Florian Stallmann" userId="87adb65ad37b5729" providerId="LiveId" clId="{856E3AA4-9A73-4F9D-A541-147DF78E7425}" dt="2020-04-12T13:15:04.510" v="4594"/>
          <ac:spMkLst>
            <pc:docMk/>
            <pc:sldMk cId="3287504615" sldId="262"/>
            <ac:spMk id="39" creationId="{D929D93E-EFF4-4550-AB07-22FEE37E956B}"/>
          </ac:spMkLst>
        </pc:spChg>
        <pc:spChg chg="add mod modVis">
          <ac:chgData name="Florian Stallmann" userId="87adb65ad37b5729" providerId="LiveId" clId="{856E3AA4-9A73-4F9D-A541-147DF78E7425}" dt="2020-04-12T13:15:15.376" v="4606" actId="207"/>
          <ac:spMkLst>
            <pc:docMk/>
            <pc:sldMk cId="3287504615" sldId="262"/>
            <ac:spMk id="41" creationId="{E4260656-023A-42D9-8DDD-07263840B98F}"/>
          </ac:spMkLst>
        </pc:spChg>
        <pc:spChg chg="add mod modVis">
          <ac:chgData name="Florian Stallmann" userId="87adb65ad37b5729" providerId="LiveId" clId="{856E3AA4-9A73-4F9D-A541-147DF78E7425}" dt="2020-04-12T13:15:15.379" v="4608" actId="207"/>
          <ac:spMkLst>
            <pc:docMk/>
            <pc:sldMk cId="3287504615" sldId="262"/>
            <ac:spMk id="42" creationId="{FFB290F4-673C-4CE3-A89E-9411199DE955}"/>
          </ac:spMkLst>
        </pc:spChg>
        <pc:spChg chg="add mod modVis">
          <ac:chgData name="Florian Stallmann" userId="87adb65ad37b5729" providerId="LiveId" clId="{856E3AA4-9A73-4F9D-A541-147DF78E7425}" dt="2020-04-12T13:15:15.382" v="4610" actId="207"/>
          <ac:spMkLst>
            <pc:docMk/>
            <pc:sldMk cId="3287504615" sldId="262"/>
            <ac:spMk id="43" creationId="{3708361C-0F27-4BC3-9105-BA3A410A4E70}"/>
          </ac:spMkLst>
        </pc:spChg>
        <pc:spChg chg="add mod modVis">
          <ac:chgData name="Florian Stallmann" userId="87adb65ad37b5729" providerId="LiveId" clId="{856E3AA4-9A73-4F9D-A541-147DF78E7425}" dt="2020-04-12T13:15:04.503" v="4573"/>
          <ac:spMkLst>
            <pc:docMk/>
            <pc:sldMk cId="3287504615" sldId="262"/>
            <ac:spMk id="44" creationId="{9135969C-8717-4D7B-8F5F-ED88F1728E21}"/>
          </ac:spMkLst>
        </pc:spChg>
        <pc:spChg chg="add mod modVis">
          <ac:chgData name="Florian Stallmann" userId="87adb65ad37b5729" providerId="LiveId" clId="{856E3AA4-9A73-4F9D-A541-147DF78E7425}" dt="2020-04-12T13:15:04.503" v="4573"/>
          <ac:spMkLst>
            <pc:docMk/>
            <pc:sldMk cId="3287504615" sldId="262"/>
            <ac:spMk id="45" creationId="{889A4370-9667-4284-9827-36AF70BD2734}"/>
          </ac:spMkLst>
        </pc:spChg>
        <pc:spChg chg="add mod modVis">
          <ac:chgData name="Florian Stallmann" userId="87adb65ad37b5729" providerId="LiveId" clId="{856E3AA4-9A73-4F9D-A541-147DF78E7425}" dt="2020-04-12T13:15:15.387" v="4612" actId="207"/>
          <ac:spMkLst>
            <pc:docMk/>
            <pc:sldMk cId="3287504615" sldId="262"/>
            <ac:spMk id="47" creationId="{F3BA7BE1-3D7B-4345-B274-C4BE50345DCA}"/>
          </ac:spMkLst>
        </pc:spChg>
        <pc:spChg chg="add mod modVis">
          <ac:chgData name="Florian Stallmann" userId="87adb65ad37b5729" providerId="LiveId" clId="{856E3AA4-9A73-4F9D-A541-147DF78E7425}" dt="2020-04-12T13:15:15.391" v="4614" actId="207"/>
          <ac:spMkLst>
            <pc:docMk/>
            <pc:sldMk cId="3287504615" sldId="262"/>
            <ac:spMk id="48" creationId="{F0B48C01-31E0-40EF-81C0-06E5831D09C6}"/>
          </ac:spMkLst>
        </pc:spChg>
        <pc:spChg chg="add mod modVis">
          <ac:chgData name="Florian Stallmann" userId="87adb65ad37b5729" providerId="LiveId" clId="{856E3AA4-9A73-4F9D-A541-147DF78E7425}" dt="2020-04-12T13:15:15.394" v="4616" actId="207"/>
          <ac:spMkLst>
            <pc:docMk/>
            <pc:sldMk cId="3287504615" sldId="262"/>
            <ac:spMk id="49" creationId="{D5F03358-AB5D-4404-9D3C-574F5C413C70}"/>
          </ac:spMkLst>
        </pc:spChg>
        <pc:spChg chg="add mod modVis">
          <ac:chgData name="Florian Stallmann" userId="87adb65ad37b5729" providerId="LiveId" clId="{856E3AA4-9A73-4F9D-A541-147DF78E7425}" dt="2020-04-12T13:15:15.398" v="4618" actId="207"/>
          <ac:spMkLst>
            <pc:docMk/>
            <pc:sldMk cId="3287504615" sldId="262"/>
            <ac:spMk id="50" creationId="{43556B74-CF81-43F4-B703-4A99F2417A23}"/>
          </ac:spMkLst>
        </pc:spChg>
        <pc:spChg chg="add mod modVis">
          <ac:chgData name="Florian Stallmann" userId="87adb65ad37b5729" providerId="LiveId" clId="{856E3AA4-9A73-4F9D-A541-147DF78E7425}" dt="2020-04-12T13:15:04.506" v="4580"/>
          <ac:spMkLst>
            <pc:docMk/>
            <pc:sldMk cId="3287504615" sldId="262"/>
            <ac:spMk id="51" creationId="{0C3759F4-FDD8-4161-865F-59D958D377E2}"/>
          </ac:spMkLst>
        </pc:spChg>
        <pc:spChg chg="add mod modVis">
          <ac:chgData name="Florian Stallmann" userId="87adb65ad37b5729" providerId="LiveId" clId="{856E3AA4-9A73-4F9D-A541-147DF78E7425}" dt="2020-04-12T13:15:15.402" v="4620" actId="207"/>
          <ac:spMkLst>
            <pc:docMk/>
            <pc:sldMk cId="3287504615" sldId="262"/>
            <ac:spMk id="53" creationId="{A3981974-7CD5-49DE-88C7-3FDF9AD065CE}"/>
          </ac:spMkLst>
        </pc:spChg>
        <pc:spChg chg="add mod modVis">
          <ac:chgData name="Florian Stallmann" userId="87adb65ad37b5729" providerId="LiveId" clId="{856E3AA4-9A73-4F9D-A541-147DF78E7425}" dt="2020-04-12T13:15:15.405" v="4622" actId="207"/>
          <ac:spMkLst>
            <pc:docMk/>
            <pc:sldMk cId="3287504615" sldId="262"/>
            <ac:spMk id="54" creationId="{CB33AF42-8279-4479-9AE4-351034C83103}"/>
          </ac:spMkLst>
        </pc:spChg>
        <pc:spChg chg="add mod modVis">
          <ac:chgData name="Florian Stallmann" userId="87adb65ad37b5729" providerId="LiveId" clId="{856E3AA4-9A73-4F9D-A541-147DF78E7425}" dt="2020-04-12T13:15:15.409" v="4624" actId="207"/>
          <ac:spMkLst>
            <pc:docMk/>
            <pc:sldMk cId="3287504615" sldId="262"/>
            <ac:spMk id="55" creationId="{BC7254A5-DA61-4DFB-95C0-3858C6293EA6}"/>
          </ac:spMkLst>
        </pc:spChg>
        <pc:spChg chg="add mod modVis">
          <ac:chgData name="Florian Stallmann" userId="87adb65ad37b5729" providerId="LiveId" clId="{856E3AA4-9A73-4F9D-A541-147DF78E7425}" dt="2020-04-12T13:15:15.412" v="4626" actId="207"/>
          <ac:spMkLst>
            <pc:docMk/>
            <pc:sldMk cId="3287504615" sldId="262"/>
            <ac:spMk id="56" creationId="{FABA19D6-C72E-411F-8C4E-63F257B3F34F}"/>
          </ac:spMkLst>
        </pc:spChg>
        <pc:spChg chg="add mod modVis">
          <ac:chgData name="Florian Stallmann" userId="87adb65ad37b5729" providerId="LiveId" clId="{856E3AA4-9A73-4F9D-A541-147DF78E7425}" dt="2020-04-12T13:15:15.416" v="4628" actId="207"/>
          <ac:spMkLst>
            <pc:docMk/>
            <pc:sldMk cId="3287504615" sldId="262"/>
            <ac:spMk id="57" creationId="{81579024-33F1-4646-AE14-C22E80D745F3}"/>
          </ac:spMkLst>
        </pc:spChg>
        <pc:spChg chg="add mod">
          <ac:chgData name="Florian Stallmann" userId="87adb65ad37b5729" providerId="LiveId" clId="{856E3AA4-9A73-4F9D-A541-147DF78E7425}" dt="2020-04-12T13:10:07.317" v="4485" actId="1076"/>
          <ac:spMkLst>
            <pc:docMk/>
            <pc:sldMk cId="3287504615" sldId="262"/>
            <ac:spMk id="61" creationId="{E1B7D844-0180-4B83-825F-A0E364879C38}"/>
          </ac:spMkLst>
        </pc:spChg>
        <pc:grpChg chg="add del mod">
          <ac:chgData name="Florian Stallmann" userId="87adb65ad37b5729" providerId="LiveId" clId="{856E3AA4-9A73-4F9D-A541-147DF78E7425}" dt="2020-04-12T08:58:03.264" v="2997" actId="478"/>
          <ac:grpSpMkLst>
            <pc:docMk/>
            <pc:sldMk cId="3287504615" sldId="262"/>
            <ac:grpSpMk id="9" creationId="{004B1E8A-B489-4E94-91D1-D81095AA5E1D}"/>
          </ac:grpSpMkLst>
        </pc:grpChg>
        <pc:grpChg chg="add del mod">
          <ac:chgData name="Florian Stallmann" userId="87adb65ad37b5729" providerId="LiveId" clId="{856E3AA4-9A73-4F9D-A541-147DF78E7425}" dt="2020-04-12T08:58:52.404" v="3026" actId="478"/>
          <ac:grpSpMkLst>
            <pc:docMk/>
            <pc:sldMk cId="3287504615" sldId="262"/>
            <ac:grpSpMk id="12" creationId="{B9BFE07D-0ED4-4F87-A632-AF582D62E593}"/>
          </ac:grpSpMkLst>
        </pc:grpChg>
        <pc:grpChg chg="add mod">
          <ac:chgData name="Florian Stallmann" userId="87adb65ad37b5729" providerId="LiveId" clId="{856E3AA4-9A73-4F9D-A541-147DF78E7425}" dt="2020-04-12T13:08:57.610" v="4310" actId="1076"/>
          <ac:grpSpMkLst>
            <pc:docMk/>
            <pc:sldMk cId="3287504615" sldId="262"/>
            <ac:grpSpMk id="18" creationId="{06C99B66-C1F9-4385-A684-64056786EAA1}"/>
          </ac:grpSpMkLst>
        </pc:grpChg>
        <pc:grpChg chg="add mod">
          <ac:chgData name="Florian Stallmann" userId="87adb65ad37b5729" providerId="LiveId" clId="{856E3AA4-9A73-4F9D-A541-147DF78E7425}" dt="2020-04-12T13:10:56.502" v="4486" actId="1076"/>
          <ac:grpSpMkLst>
            <pc:docMk/>
            <pc:sldMk cId="3287504615" sldId="262"/>
            <ac:grpSpMk id="21" creationId="{67E5D121-ADEA-464C-B07D-4E7AC537D873}"/>
          </ac:grpSpMkLst>
        </pc:grpChg>
        <pc:grpChg chg="add mod topLvl modVis">
          <ac:chgData name="Florian Stallmann" userId="87adb65ad37b5729" providerId="LiveId" clId="{856E3AA4-9A73-4F9D-A541-147DF78E7425}" dt="2020-04-12T13:15:04.511" v="4595"/>
          <ac:grpSpMkLst>
            <pc:docMk/>
            <pc:sldMk cId="3287504615" sldId="262"/>
            <ac:grpSpMk id="28" creationId="{F87D89A2-5422-4CEF-9B0F-9BAB2A989552}"/>
          </ac:grpSpMkLst>
        </pc:grpChg>
        <pc:grpChg chg="add mod topLvl modVis">
          <ac:chgData name="Florian Stallmann" userId="87adb65ad37b5729" providerId="LiveId" clId="{856E3AA4-9A73-4F9D-A541-147DF78E7425}" dt="2020-04-12T13:15:04.511" v="4595"/>
          <ac:grpSpMkLst>
            <pc:docMk/>
            <pc:sldMk cId="3287504615" sldId="262"/>
            <ac:grpSpMk id="34" creationId="{0B615C14-6277-4013-AE32-A97E214DB686}"/>
          </ac:grpSpMkLst>
        </pc:grpChg>
        <pc:grpChg chg="add mod topLvl modVis">
          <ac:chgData name="Florian Stallmann" userId="87adb65ad37b5729" providerId="LiveId" clId="{856E3AA4-9A73-4F9D-A541-147DF78E7425}" dt="2020-04-12T13:15:04.511" v="4595"/>
          <ac:grpSpMkLst>
            <pc:docMk/>
            <pc:sldMk cId="3287504615" sldId="262"/>
            <ac:grpSpMk id="40" creationId="{25652CCF-F6EE-4BF8-9463-E1C9428D0B92}"/>
          </ac:grpSpMkLst>
        </pc:grpChg>
        <pc:grpChg chg="add mod topLvl modVis">
          <ac:chgData name="Florian Stallmann" userId="87adb65ad37b5729" providerId="LiveId" clId="{856E3AA4-9A73-4F9D-A541-147DF78E7425}" dt="2020-04-12T13:15:04.511" v="4595"/>
          <ac:grpSpMkLst>
            <pc:docMk/>
            <pc:sldMk cId="3287504615" sldId="262"/>
            <ac:grpSpMk id="46" creationId="{CBC1B6CC-254A-4C97-8834-9A81AB6CAEB7}"/>
          </ac:grpSpMkLst>
        </pc:grpChg>
        <pc:grpChg chg="add mod topLvl modVis">
          <ac:chgData name="Florian Stallmann" userId="87adb65ad37b5729" providerId="LiveId" clId="{856E3AA4-9A73-4F9D-A541-147DF78E7425}" dt="2020-04-12T13:15:04.511" v="4595"/>
          <ac:grpSpMkLst>
            <pc:docMk/>
            <pc:sldMk cId="3287504615" sldId="262"/>
            <ac:grpSpMk id="52" creationId="{84EFC6DA-9BFB-4807-BA69-F43AB2F4F215}"/>
          </ac:grpSpMkLst>
        </pc:grpChg>
        <pc:grpChg chg="add mod topLvl modVis">
          <ac:chgData name="Florian Stallmann" userId="87adb65ad37b5729" providerId="LiveId" clId="{856E3AA4-9A73-4F9D-A541-147DF78E7425}" dt="2020-04-12T13:15:04.511" v="4595"/>
          <ac:grpSpMkLst>
            <pc:docMk/>
            <pc:sldMk cId="3287504615" sldId="262"/>
            <ac:grpSpMk id="58" creationId="{E0CB579E-A191-4B7A-BF18-C646F5979D5D}"/>
          </ac:grpSpMkLst>
        </pc:grpChg>
        <pc:grpChg chg="add del mod">
          <ac:chgData name="Florian Stallmann" userId="87adb65ad37b5729" providerId="LiveId" clId="{856E3AA4-9A73-4F9D-A541-147DF78E7425}" dt="2020-04-12T13:15:04.328" v="4489"/>
          <ac:grpSpMkLst>
            <pc:docMk/>
            <pc:sldMk cId="3287504615" sldId="262"/>
            <ac:grpSpMk id="59" creationId="{612B4C11-141B-47C9-A307-6BCC35C9DC5F}"/>
          </ac:grpSpMkLst>
        </pc:grpChg>
        <pc:grpChg chg="add del mod">
          <ac:chgData name="Florian Stallmann" userId="87adb65ad37b5729" providerId="LiveId" clId="{856E3AA4-9A73-4F9D-A541-147DF78E7425}" dt="2020-04-12T13:15:04.494" v="4545"/>
          <ac:grpSpMkLst>
            <pc:docMk/>
            <pc:sldMk cId="3287504615" sldId="262"/>
            <ac:grpSpMk id="62" creationId="{BA590CE4-4872-4066-9E6D-10F72FD0229E}"/>
          </ac:grpSpMkLst>
        </pc:grpChg>
        <pc:grpChg chg="add mod">
          <ac:chgData name="Florian Stallmann" userId="87adb65ad37b5729" providerId="LiveId" clId="{856E3AA4-9A73-4F9D-A541-147DF78E7425}" dt="2020-04-12T13:15:24.285" v="4629" actId="1076"/>
          <ac:grpSpMkLst>
            <pc:docMk/>
            <pc:sldMk cId="3287504615" sldId="262"/>
            <ac:grpSpMk id="63" creationId="{16085D77-B2E5-4CD6-A6A2-928C907ACBDB}"/>
          </ac:grpSpMkLst>
        </pc:grpChg>
        <pc:picChg chg="add mod">
          <ac:chgData name="Florian Stallmann" userId="87adb65ad37b5729" providerId="LiveId" clId="{856E3AA4-9A73-4F9D-A541-147DF78E7425}" dt="2020-04-12T09:13:07.193" v="3871" actId="1076"/>
          <ac:picMkLst>
            <pc:docMk/>
            <pc:sldMk cId="3287504615" sldId="262"/>
            <ac:picMk id="6" creationId="{EDA0C3BC-3BB2-43BA-ACB4-4AAF250DDB48}"/>
          </ac:picMkLst>
        </pc:picChg>
        <pc:picChg chg="add mod">
          <ac:chgData name="Florian Stallmann" userId="87adb65ad37b5729" providerId="LiveId" clId="{856E3AA4-9A73-4F9D-A541-147DF78E7425}" dt="2020-04-12T13:15:25.493" v="4630" actId="1076"/>
          <ac:picMkLst>
            <pc:docMk/>
            <pc:sldMk cId="3287504615" sldId="262"/>
            <ac:picMk id="22" creationId="{998BD3C4-E44E-4725-9D8E-E51262BDE635}"/>
          </ac:picMkLst>
        </pc:picChg>
        <pc:picChg chg="add del mod">
          <ac:chgData name="Florian Stallmann" userId="87adb65ad37b5729" providerId="LiveId" clId="{856E3AA4-9A73-4F9D-A541-147DF78E7425}" dt="2020-04-12T13:09:00.931" v="4312" actId="478"/>
          <ac:picMkLst>
            <pc:docMk/>
            <pc:sldMk cId="3287504615" sldId="262"/>
            <ac:picMk id="60" creationId="{4977BE8B-5CEB-4E57-B939-8FEA4A47F94F}"/>
          </ac:picMkLst>
        </pc:picChg>
        <pc:cxnChg chg="add del mod">
          <ac:chgData name="Florian Stallmann" userId="87adb65ad37b5729" providerId="LiveId" clId="{856E3AA4-9A73-4F9D-A541-147DF78E7425}" dt="2020-04-12T08:57:43.704" v="2980" actId="478"/>
          <ac:cxnSpMkLst>
            <pc:docMk/>
            <pc:sldMk cId="3287504615" sldId="262"/>
            <ac:cxnSpMk id="4" creationId="{1CA50846-AFA1-42A3-860A-4CB838DFEBDA}"/>
          </ac:cxnSpMkLst>
        </pc:cxnChg>
        <pc:cxnChg chg="add del mod">
          <ac:chgData name="Florian Stallmann" userId="87adb65ad37b5729" providerId="LiveId" clId="{856E3AA4-9A73-4F9D-A541-147DF78E7425}" dt="2020-04-12T08:57:43.704" v="2980" actId="478"/>
          <ac:cxnSpMkLst>
            <pc:docMk/>
            <pc:sldMk cId="3287504615" sldId="262"/>
            <ac:cxnSpMk id="5" creationId="{2077EF22-F420-4807-B4B1-6145FE752C0B}"/>
          </ac:cxnSpMkLst>
        </pc:cxnChg>
      </pc:sldChg>
      <pc:sldChg chg="addSp delSp modSp new">
        <pc:chgData name="Florian Stallmann" userId="87adb65ad37b5729" providerId="LiveId" clId="{856E3AA4-9A73-4F9D-A541-147DF78E7425}" dt="2020-04-12T08:50:52.549" v="1963" actId="1076"/>
        <pc:sldMkLst>
          <pc:docMk/>
          <pc:sldMk cId="1921534947" sldId="263"/>
        </pc:sldMkLst>
        <pc:spChg chg="mod">
          <ac:chgData name="Florian Stallmann" userId="87adb65ad37b5729" providerId="LiveId" clId="{856E3AA4-9A73-4F9D-A541-147DF78E7425}" dt="2020-04-12T08:19:14.283" v="356" actId="20577"/>
          <ac:spMkLst>
            <pc:docMk/>
            <pc:sldMk cId="1921534947" sldId="263"/>
            <ac:spMk id="2" creationId="{5EE158E0-B353-4F18-B7AE-4F052746AC38}"/>
          </ac:spMkLst>
        </pc:spChg>
        <pc:spChg chg="add del">
          <ac:chgData name="Florian Stallmann" userId="87adb65ad37b5729" providerId="LiveId" clId="{856E3AA4-9A73-4F9D-A541-147DF78E7425}" dt="2020-04-12T08:49:46.858" v="1795" actId="478"/>
          <ac:spMkLst>
            <pc:docMk/>
            <pc:sldMk cId="1921534947" sldId="263"/>
            <ac:spMk id="4" creationId="{58049418-13FE-467C-A6BD-37FB4C4BA925}"/>
          </ac:spMkLst>
        </pc:spChg>
        <pc:spChg chg="add del mod">
          <ac:chgData name="Florian Stallmann" userId="87adb65ad37b5729" providerId="LiveId" clId="{856E3AA4-9A73-4F9D-A541-147DF78E7425}" dt="2020-04-12T08:49:27.490" v="1791" actId="478"/>
          <ac:spMkLst>
            <pc:docMk/>
            <pc:sldMk cId="1921534947" sldId="263"/>
            <ac:spMk id="5" creationId="{9A4568AC-23AA-491A-93BC-0F7AFCF11B3E}"/>
          </ac:spMkLst>
        </pc:spChg>
        <pc:spChg chg="add mod">
          <ac:chgData name="Florian Stallmann" userId="87adb65ad37b5729" providerId="LiveId" clId="{856E3AA4-9A73-4F9D-A541-147DF78E7425}" dt="2020-04-12T08:50:52.549" v="1963" actId="1076"/>
          <ac:spMkLst>
            <pc:docMk/>
            <pc:sldMk cId="1921534947" sldId="263"/>
            <ac:spMk id="7" creationId="{DF14D035-3904-4E8D-A937-8B6E76086F46}"/>
          </ac:spMkLst>
        </pc:spChg>
        <pc:picChg chg="add del mod">
          <ac:chgData name="Florian Stallmann" userId="87adb65ad37b5729" providerId="LiveId" clId="{856E3AA4-9A73-4F9D-A541-147DF78E7425}" dt="2020-04-12T08:41:19.322" v="1517" actId="21"/>
          <ac:picMkLst>
            <pc:docMk/>
            <pc:sldMk cId="1921534947" sldId="263"/>
            <ac:picMk id="3" creationId="{21A4D3F0-60D5-477C-83C2-D387A8271EEE}"/>
          </ac:picMkLst>
        </pc:picChg>
        <pc:picChg chg="add mod">
          <ac:chgData name="Florian Stallmann" userId="87adb65ad37b5729" providerId="LiveId" clId="{856E3AA4-9A73-4F9D-A541-147DF78E7425}" dt="2020-04-12T08:49:56.466" v="1800" actId="1076"/>
          <ac:picMkLst>
            <pc:docMk/>
            <pc:sldMk cId="1921534947" sldId="263"/>
            <ac:picMk id="3" creationId="{F05E2E25-82D1-41C8-BE26-6700E596D09A}"/>
          </ac:picMkLst>
        </pc:picChg>
        <pc:picChg chg="add del mod">
          <ac:chgData name="Florian Stallmann" userId="87adb65ad37b5729" providerId="LiveId" clId="{856E3AA4-9A73-4F9D-A541-147DF78E7425}" dt="2020-04-12T08:41:19.322" v="1517" actId="21"/>
          <ac:picMkLst>
            <pc:docMk/>
            <pc:sldMk cId="1921534947" sldId="263"/>
            <ac:picMk id="4" creationId="{76D3328B-9722-42E3-84F3-AE919353D6FC}"/>
          </ac:picMkLst>
        </pc:picChg>
        <pc:picChg chg="add mod">
          <ac:chgData name="Florian Stallmann" userId="87adb65ad37b5729" providerId="LiveId" clId="{856E3AA4-9A73-4F9D-A541-147DF78E7425}" dt="2020-04-12T08:49:53.671" v="1798" actId="1076"/>
          <ac:picMkLst>
            <pc:docMk/>
            <pc:sldMk cId="1921534947" sldId="263"/>
            <ac:picMk id="6" creationId="{70088506-3198-4D2A-B59B-40E2AAB90EC8}"/>
          </ac:picMkLst>
        </pc:picChg>
      </pc:sldChg>
      <pc:sldChg chg="addSp delSp modSp new">
        <pc:chgData name="Florian Stallmann" userId="87adb65ad37b5729" providerId="LiveId" clId="{856E3AA4-9A73-4F9D-A541-147DF78E7425}" dt="2020-04-12T09:05:16.850" v="3816"/>
        <pc:sldMkLst>
          <pc:docMk/>
          <pc:sldMk cId="1327573885" sldId="264"/>
        </pc:sldMkLst>
        <pc:spChg chg="mod">
          <ac:chgData name="Florian Stallmann" userId="87adb65ad37b5729" providerId="LiveId" clId="{856E3AA4-9A73-4F9D-A541-147DF78E7425}" dt="2020-04-12T09:04:09.586" v="3738" actId="6549"/>
          <ac:spMkLst>
            <pc:docMk/>
            <pc:sldMk cId="1327573885" sldId="264"/>
            <ac:spMk id="2" creationId="{CABA21B5-1261-4664-BB33-AE4129A1C171}"/>
          </ac:spMkLst>
        </pc:spChg>
        <pc:spChg chg="add mod">
          <ac:chgData name="Florian Stallmann" userId="87adb65ad37b5729" providerId="LiveId" clId="{856E3AA4-9A73-4F9D-A541-147DF78E7425}" dt="2020-04-12T08:59:03.145" v="3035"/>
          <ac:spMkLst>
            <pc:docMk/>
            <pc:sldMk cId="1327573885" sldId="264"/>
            <ac:spMk id="3" creationId="{86E2E18E-A1BE-4921-A3DB-824CAFFF128B}"/>
          </ac:spMkLst>
        </pc:spChg>
        <pc:spChg chg="add mod modVis">
          <ac:chgData name="Florian Stallmann" userId="87adb65ad37b5729" providerId="LiveId" clId="{856E3AA4-9A73-4F9D-A541-147DF78E7425}" dt="2020-04-12T08:59:03.148" v="3040"/>
          <ac:spMkLst>
            <pc:docMk/>
            <pc:sldMk cId="1327573885" sldId="264"/>
            <ac:spMk id="4" creationId="{ABCBD585-F968-4EC5-9574-983B17D4AFD6}"/>
          </ac:spMkLst>
        </pc:spChg>
        <pc:spChg chg="mod">
          <ac:chgData name="Florian Stallmann" userId="87adb65ad37b5729" providerId="LiveId" clId="{856E3AA4-9A73-4F9D-A541-147DF78E7425}" dt="2020-04-12T08:59:06.266" v="3053"/>
          <ac:spMkLst>
            <pc:docMk/>
            <pc:sldMk cId="1327573885" sldId="264"/>
            <ac:spMk id="8" creationId="{B16238B4-9745-496F-9A6F-DDD79D0CEDAE}"/>
          </ac:spMkLst>
        </pc:spChg>
        <pc:spChg chg="add mod">
          <ac:chgData name="Florian Stallmann" userId="87adb65ad37b5729" providerId="LiveId" clId="{856E3AA4-9A73-4F9D-A541-147DF78E7425}" dt="2020-04-12T09:04:57.549" v="3758" actId="20577"/>
          <ac:spMkLst>
            <pc:docMk/>
            <pc:sldMk cId="1327573885" sldId="264"/>
            <ac:spMk id="9" creationId="{6B6FA08E-F225-40D4-92D1-0B335E7368E9}"/>
          </ac:spMkLst>
        </pc:spChg>
        <pc:spChg chg="add mod">
          <ac:chgData name="Florian Stallmann" userId="87adb65ad37b5729" providerId="LiveId" clId="{856E3AA4-9A73-4F9D-A541-147DF78E7425}" dt="2020-04-12T09:04:42.195" v="3755" actId="1076"/>
          <ac:spMkLst>
            <pc:docMk/>
            <pc:sldMk cId="1327573885" sldId="264"/>
            <ac:spMk id="11" creationId="{74345B48-E565-45E3-8553-6ABD3AA58546}"/>
          </ac:spMkLst>
        </pc:spChg>
        <pc:spChg chg="add mod">
          <ac:chgData name="Florian Stallmann" userId="87adb65ad37b5729" providerId="LiveId" clId="{856E3AA4-9A73-4F9D-A541-147DF78E7425}" dt="2020-04-12T09:05:10.321" v="3760" actId="1076"/>
          <ac:spMkLst>
            <pc:docMk/>
            <pc:sldMk cId="1327573885" sldId="264"/>
            <ac:spMk id="13" creationId="{AAA99BE1-8857-45B0-9D62-B4227A7319DA}"/>
          </ac:spMkLst>
        </pc:spChg>
        <pc:spChg chg="add mod">
          <ac:chgData name="Florian Stallmann" userId="87adb65ad37b5729" providerId="LiveId" clId="{856E3AA4-9A73-4F9D-A541-147DF78E7425}" dt="2020-04-12T09:04:33.770" v="3750" actId="1076"/>
          <ac:spMkLst>
            <pc:docMk/>
            <pc:sldMk cId="1327573885" sldId="264"/>
            <ac:spMk id="15" creationId="{500476F2-677E-4151-AB5F-3646F7B573DC}"/>
          </ac:spMkLst>
        </pc:spChg>
        <pc:grpChg chg="add mod">
          <ac:chgData name="Florian Stallmann" userId="87adb65ad37b5729" providerId="LiveId" clId="{856E3AA4-9A73-4F9D-A541-147DF78E7425}" dt="2020-04-12T09:04:49.003" v="3757" actId="1076"/>
          <ac:grpSpMkLst>
            <pc:docMk/>
            <pc:sldMk cId="1327573885" sldId="264"/>
            <ac:grpSpMk id="5" creationId="{1F10DACB-1BC0-4CA2-B6D1-214F993B8C83}"/>
          </ac:grpSpMkLst>
        </pc:grpChg>
        <pc:grpChg chg="add mod">
          <ac:chgData name="Florian Stallmann" userId="87adb65ad37b5729" providerId="LiveId" clId="{856E3AA4-9A73-4F9D-A541-147DF78E7425}" dt="2020-04-12T09:04:49.003" v="3757" actId="1076"/>
          <ac:grpSpMkLst>
            <pc:docMk/>
            <pc:sldMk cId="1327573885" sldId="264"/>
            <ac:grpSpMk id="6" creationId="{426047BC-772C-4B7E-9992-42E6B35E430B}"/>
          </ac:grpSpMkLst>
        </pc:grpChg>
        <pc:picChg chg="add mod">
          <ac:chgData name="Florian Stallmann" userId="87adb65ad37b5729" providerId="LiveId" clId="{856E3AA4-9A73-4F9D-A541-147DF78E7425}" dt="2020-04-12T09:04:42.195" v="3755" actId="1076"/>
          <ac:picMkLst>
            <pc:docMk/>
            <pc:sldMk cId="1327573885" sldId="264"/>
            <ac:picMk id="10" creationId="{63C75BFB-B706-45A8-B059-36817C8D9043}"/>
          </ac:picMkLst>
        </pc:picChg>
        <pc:picChg chg="add mod">
          <ac:chgData name="Florian Stallmann" userId="87adb65ad37b5729" providerId="LiveId" clId="{856E3AA4-9A73-4F9D-A541-147DF78E7425}" dt="2020-04-12T09:05:02.163" v="3759" actId="1076"/>
          <ac:picMkLst>
            <pc:docMk/>
            <pc:sldMk cId="1327573885" sldId="264"/>
            <ac:picMk id="12" creationId="{036D1A94-AF25-423F-8604-A9DCE95D55B0}"/>
          </ac:picMkLst>
        </pc:picChg>
        <pc:picChg chg="add del mod">
          <ac:chgData name="Florian Stallmann" userId="87adb65ad37b5729" providerId="LiveId" clId="{856E3AA4-9A73-4F9D-A541-147DF78E7425}" dt="2020-04-12T09:05:15.715" v="3788"/>
          <ac:picMkLst>
            <pc:docMk/>
            <pc:sldMk cId="1327573885" sldId="264"/>
            <ac:picMk id="14" creationId="{86544CD9-1AD7-4CA1-B35E-41500DAF66DF}"/>
          </ac:picMkLst>
        </pc:picChg>
        <pc:picChg chg="add del mod ord modCrop">
          <ac:chgData name="Florian Stallmann" userId="87adb65ad37b5729" providerId="LiveId" clId="{856E3AA4-9A73-4F9D-A541-147DF78E7425}" dt="2020-04-12T09:05:16.850" v="3816"/>
          <ac:picMkLst>
            <pc:docMk/>
            <pc:sldMk cId="1327573885" sldId="264"/>
            <ac:picMk id="16" creationId="{41378617-31B9-4660-B5BA-2AC8E8533720}"/>
          </ac:picMkLst>
        </pc:picChg>
        <pc:picChg chg="add mod ord modCrop">
          <ac:chgData name="Florian Stallmann" userId="87adb65ad37b5729" providerId="LiveId" clId="{856E3AA4-9A73-4F9D-A541-147DF78E7425}" dt="2020-04-12T09:05:16.849" v="3814" actId="108"/>
          <ac:picMkLst>
            <pc:docMk/>
            <pc:sldMk cId="1327573885" sldId="264"/>
            <ac:picMk id="17" creationId="{90E12B39-A5DE-40F9-BCB1-C63B7D348458}"/>
          </ac:picMkLst>
        </pc:picChg>
      </pc:sldChg>
      <pc:sldChg chg="addSp delSp modSp new ord">
        <pc:chgData name="Florian Stallmann" userId="87adb65ad37b5729" providerId="LiveId" clId="{856E3AA4-9A73-4F9D-A541-147DF78E7425}" dt="2020-04-12T08:24:02.826" v="699" actId="14100"/>
        <pc:sldMkLst>
          <pc:docMk/>
          <pc:sldMk cId="2343481218" sldId="265"/>
        </pc:sldMkLst>
        <pc:spChg chg="mod">
          <ac:chgData name="Florian Stallmann" userId="87adb65ad37b5729" providerId="LiveId" clId="{856E3AA4-9A73-4F9D-A541-147DF78E7425}" dt="2020-04-12T08:21:52.113" v="501" actId="14100"/>
          <ac:spMkLst>
            <pc:docMk/>
            <pc:sldMk cId="2343481218" sldId="265"/>
            <ac:spMk id="2" creationId="{E77FB666-6E56-482B-83A2-79E8BD4CC636}"/>
          </ac:spMkLst>
        </pc:spChg>
        <pc:spChg chg="add mod">
          <ac:chgData name="Florian Stallmann" userId="87adb65ad37b5729" providerId="LiveId" clId="{856E3AA4-9A73-4F9D-A541-147DF78E7425}" dt="2020-04-12T08:22:11.761" v="505" actId="1076"/>
          <ac:spMkLst>
            <pc:docMk/>
            <pc:sldMk cId="2343481218" sldId="265"/>
            <ac:spMk id="3" creationId="{D1F145E7-73BA-4E3F-9DD8-F650B27DFACB}"/>
          </ac:spMkLst>
        </pc:spChg>
        <pc:spChg chg="add del">
          <ac:chgData name="Florian Stallmann" userId="87adb65ad37b5729" providerId="LiveId" clId="{856E3AA4-9A73-4F9D-A541-147DF78E7425}" dt="2020-04-12T08:22:35.864" v="507" actId="478"/>
          <ac:spMkLst>
            <pc:docMk/>
            <pc:sldMk cId="2343481218" sldId="265"/>
            <ac:spMk id="7" creationId="{BE4908C7-1422-42B5-B79A-41412895D24C}"/>
          </ac:spMkLst>
        </pc:spChg>
        <pc:spChg chg="add mod">
          <ac:chgData name="Florian Stallmann" userId="87adb65ad37b5729" providerId="LiveId" clId="{856E3AA4-9A73-4F9D-A541-147DF78E7425}" dt="2020-04-12T08:24:02.826" v="699" actId="14100"/>
          <ac:spMkLst>
            <pc:docMk/>
            <pc:sldMk cId="2343481218" sldId="265"/>
            <ac:spMk id="8" creationId="{72CF6487-E5CD-4404-A9AF-3ABA6019F07C}"/>
          </ac:spMkLst>
        </pc:spChg>
        <pc:grpChg chg="add mod">
          <ac:chgData name="Florian Stallmann" userId="87adb65ad37b5729" providerId="LiveId" clId="{856E3AA4-9A73-4F9D-A541-147DF78E7425}" dt="2020-04-12T08:22:05.295" v="504" actId="14100"/>
          <ac:grpSpMkLst>
            <pc:docMk/>
            <pc:sldMk cId="2343481218" sldId="265"/>
            <ac:grpSpMk id="6" creationId="{69003DE8-00AD-4135-9A54-B95CDFB578D1}"/>
          </ac:grpSpMkLst>
        </pc:grpChg>
        <pc:picChg chg="add mod">
          <ac:chgData name="Florian Stallmann" userId="87adb65ad37b5729" providerId="LiveId" clId="{856E3AA4-9A73-4F9D-A541-147DF78E7425}" dt="2020-04-12T08:21:40.785" v="498" actId="164"/>
          <ac:picMkLst>
            <pc:docMk/>
            <pc:sldMk cId="2343481218" sldId="265"/>
            <ac:picMk id="4" creationId="{7ECD379B-B758-4C25-B2A7-D4C87A5F13A6}"/>
          </ac:picMkLst>
        </pc:picChg>
        <pc:picChg chg="add mod">
          <ac:chgData name="Florian Stallmann" userId="87adb65ad37b5729" providerId="LiveId" clId="{856E3AA4-9A73-4F9D-A541-147DF78E7425}" dt="2020-04-12T08:21:40.785" v="498" actId="164"/>
          <ac:picMkLst>
            <pc:docMk/>
            <pc:sldMk cId="2343481218" sldId="265"/>
            <ac:picMk id="5" creationId="{2120DA0C-5191-4D41-91D1-21D317A3D959}"/>
          </ac:picMkLst>
        </pc:picChg>
      </pc:sldChg>
      <pc:sldChg chg="addSp delSp modSp new">
        <pc:chgData name="Florian Stallmann" userId="87adb65ad37b5729" providerId="LiveId" clId="{856E3AA4-9A73-4F9D-A541-147DF78E7425}" dt="2020-04-12T08:40:14.521" v="1511" actId="1076"/>
        <pc:sldMkLst>
          <pc:docMk/>
          <pc:sldMk cId="824019170" sldId="266"/>
        </pc:sldMkLst>
        <pc:spChg chg="mod">
          <ac:chgData name="Florian Stallmann" userId="87adb65ad37b5729" providerId="LiveId" clId="{856E3AA4-9A73-4F9D-A541-147DF78E7425}" dt="2020-04-12T08:18:54.437" v="322" actId="20577"/>
          <ac:spMkLst>
            <pc:docMk/>
            <pc:sldMk cId="824019170" sldId="266"/>
            <ac:spMk id="2" creationId="{B2C9E418-5A66-4050-AC53-B0F96D6F39DE}"/>
          </ac:spMkLst>
        </pc:spChg>
        <pc:spChg chg="add mod">
          <ac:chgData name="Florian Stallmann" userId="87adb65ad37b5729" providerId="LiveId" clId="{856E3AA4-9A73-4F9D-A541-147DF78E7425}" dt="2020-04-12T08:39:18.782" v="1498" actId="1076"/>
          <ac:spMkLst>
            <pc:docMk/>
            <pc:sldMk cId="824019170" sldId="266"/>
            <ac:spMk id="9" creationId="{19755F2A-B675-4ECE-A19F-22E3219EE16A}"/>
          </ac:spMkLst>
        </pc:spChg>
        <pc:spChg chg="add mod">
          <ac:chgData name="Florian Stallmann" userId="87adb65ad37b5729" providerId="LiveId" clId="{856E3AA4-9A73-4F9D-A541-147DF78E7425}" dt="2020-04-12T08:39:30.255" v="1503" actId="14100"/>
          <ac:spMkLst>
            <pc:docMk/>
            <pc:sldMk cId="824019170" sldId="266"/>
            <ac:spMk id="10" creationId="{C8856216-8C08-4EBB-A816-973D522B8CC7}"/>
          </ac:spMkLst>
        </pc:spChg>
        <pc:spChg chg="add mod">
          <ac:chgData name="Florian Stallmann" userId="87adb65ad37b5729" providerId="LiveId" clId="{856E3AA4-9A73-4F9D-A541-147DF78E7425}" dt="2020-04-12T08:39:41.622" v="1508" actId="1076"/>
          <ac:spMkLst>
            <pc:docMk/>
            <pc:sldMk cId="824019170" sldId="266"/>
            <ac:spMk id="11" creationId="{C05BC56F-BCEB-4387-8574-40286A43F2A7}"/>
          </ac:spMkLst>
        </pc:spChg>
        <pc:picChg chg="add mod">
          <ac:chgData name="Florian Stallmann" userId="87adb65ad37b5729" providerId="LiveId" clId="{856E3AA4-9A73-4F9D-A541-147DF78E7425}" dt="2020-04-12T08:39:19.952" v="1499" actId="1076"/>
          <ac:picMkLst>
            <pc:docMk/>
            <pc:sldMk cId="824019170" sldId="266"/>
            <ac:picMk id="3" creationId="{DD62AE7E-23EB-40F1-8907-CFB697D35AFE}"/>
          </ac:picMkLst>
        </pc:picChg>
        <pc:picChg chg="add del mod">
          <ac:chgData name="Florian Stallmann" userId="87adb65ad37b5729" providerId="LiveId" clId="{856E3AA4-9A73-4F9D-A541-147DF78E7425}" dt="2020-04-12T08:33:38.283" v="1165" actId="478"/>
          <ac:picMkLst>
            <pc:docMk/>
            <pc:sldMk cId="824019170" sldId="266"/>
            <ac:picMk id="4" creationId="{2B36E769-1BF9-44E9-AB7B-0AD95C087EF9}"/>
          </ac:picMkLst>
        </pc:picChg>
        <pc:picChg chg="add mod">
          <ac:chgData name="Florian Stallmann" userId="87adb65ad37b5729" providerId="LiveId" clId="{856E3AA4-9A73-4F9D-A541-147DF78E7425}" dt="2020-04-12T08:40:14.521" v="1511" actId="1076"/>
          <ac:picMkLst>
            <pc:docMk/>
            <pc:sldMk cId="824019170" sldId="266"/>
            <ac:picMk id="5" creationId="{F92DFEC3-61A9-442D-A18C-E111BF3BE1EE}"/>
          </ac:picMkLst>
        </pc:picChg>
        <pc:picChg chg="add mod">
          <ac:chgData name="Florian Stallmann" userId="87adb65ad37b5729" providerId="LiveId" clId="{856E3AA4-9A73-4F9D-A541-147DF78E7425}" dt="2020-04-12T08:39:27.784" v="1502" actId="1076"/>
          <ac:picMkLst>
            <pc:docMk/>
            <pc:sldMk cId="824019170" sldId="266"/>
            <ac:picMk id="6" creationId="{AF58BC7F-93BA-4AF6-897D-748EE174A173}"/>
          </ac:picMkLst>
        </pc:picChg>
        <pc:picChg chg="add mod">
          <ac:chgData name="Florian Stallmann" userId="87adb65ad37b5729" providerId="LiveId" clId="{856E3AA4-9A73-4F9D-A541-147DF78E7425}" dt="2020-04-12T08:39:43.033" v="1509" actId="1076"/>
          <ac:picMkLst>
            <pc:docMk/>
            <pc:sldMk cId="824019170" sldId="266"/>
            <ac:picMk id="7" creationId="{8B7A0B40-7580-46F2-9317-F43FADFA34DA}"/>
          </ac:picMkLst>
        </pc:picChg>
        <pc:picChg chg="add mod">
          <ac:chgData name="Florian Stallmann" userId="87adb65ad37b5729" providerId="LiveId" clId="{856E3AA4-9A73-4F9D-A541-147DF78E7425}" dt="2020-04-12T08:40:13.076" v="1510" actId="1076"/>
          <ac:picMkLst>
            <pc:docMk/>
            <pc:sldMk cId="824019170" sldId="266"/>
            <ac:picMk id="8" creationId="{420657DF-A598-494D-A11C-942886C04299}"/>
          </ac:picMkLst>
        </pc:picChg>
      </pc:sldChg>
      <pc:sldChg chg="addSp modSp add del ord modTransition">
        <pc:chgData name="Florian Stallmann" userId="87adb65ad37b5729" providerId="LiveId" clId="{856E3AA4-9A73-4F9D-A541-147DF78E7425}" dt="2020-04-12T08:53:19.866" v="2372" actId="2696"/>
        <pc:sldMkLst>
          <pc:docMk/>
          <pc:sldMk cId="2846274862" sldId="267"/>
        </pc:sldMkLst>
        <pc:spChg chg="mod">
          <ac:chgData name="Florian Stallmann" userId="87adb65ad37b5729" providerId="LiveId" clId="{856E3AA4-9A73-4F9D-A541-147DF78E7425}" dt="2020-04-12T08:52:44.376" v="2200"/>
          <ac:spMkLst>
            <pc:docMk/>
            <pc:sldMk cId="2846274862" sldId="267"/>
            <ac:spMk id="3" creationId="{9FD4B19A-C836-4F82-9392-73772680E99D}"/>
          </ac:spMkLst>
        </pc:spChg>
        <pc:spChg chg="add mod ord">
          <ac:chgData name="Florian Stallmann" userId="87adb65ad37b5729" providerId="LiveId" clId="{856E3AA4-9A73-4F9D-A541-147DF78E7425}" dt="2020-04-12T08:53:05.204" v="2224" actId="207"/>
          <ac:spMkLst>
            <pc:docMk/>
            <pc:sldMk cId="2846274862" sldId="267"/>
            <ac:spMk id="6" creationId="{1A49C571-5544-453B-ADC0-976BF8613F7F}"/>
          </ac:spMkLst>
        </pc:spChg>
      </pc:sldChg>
      <pc:sldChg chg="addSp modSp add del ord modTransition">
        <pc:chgData name="Florian Stallmann" userId="87adb65ad37b5729" providerId="LiveId" clId="{856E3AA4-9A73-4F9D-A541-147DF78E7425}" dt="2020-04-12T08:53:19.908" v="2408" actId="2696"/>
        <pc:sldMkLst>
          <pc:docMk/>
          <pc:sldMk cId="1876059624" sldId="268"/>
        </pc:sldMkLst>
        <pc:spChg chg="mod">
          <ac:chgData name="Florian Stallmann" userId="87adb65ad37b5729" providerId="LiveId" clId="{856E3AA4-9A73-4F9D-A541-147DF78E7425}" dt="2020-04-12T08:52:44.383" v="2205"/>
          <ac:spMkLst>
            <pc:docMk/>
            <pc:sldMk cId="1876059624" sldId="268"/>
            <ac:spMk id="3" creationId="{9FD4B19A-C836-4F82-9392-73772680E99D}"/>
          </ac:spMkLst>
        </pc:spChg>
        <pc:spChg chg="add mod ord">
          <ac:chgData name="Florian Stallmann" userId="87adb65ad37b5729" providerId="LiveId" clId="{856E3AA4-9A73-4F9D-A541-147DF78E7425}" dt="2020-04-12T08:52:49.181" v="2218" actId="693"/>
          <ac:spMkLst>
            <pc:docMk/>
            <pc:sldMk cId="1876059624" sldId="268"/>
            <ac:spMk id="6" creationId="{E8AAB10D-8C33-4849-8DF6-FCA494D75EF5}"/>
          </ac:spMkLst>
        </pc:spChg>
      </pc:sldChg>
      <pc:sldChg chg="addSp modSp add del ord modTransition">
        <pc:chgData name="Florian Stallmann" userId="87adb65ad37b5729" providerId="LiveId" clId="{856E3AA4-9A73-4F9D-A541-147DF78E7425}" dt="2020-04-12T08:53:19.942" v="2444" actId="2696"/>
        <pc:sldMkLst>
          <pc:docMk/>
          <pc:sldMk cId="195352575" sldId="269"/>
        </pc:sldMkLst>
        <pc:spChg chg="mod">
          <ac:chgData name="Florian Stallmann" userId="87adb65ad37b5729" providerId="LiveId" clId="{856E3AA4-9A73-4F9D-A541-147DF78E7425}" dt="2020-04-12T08:52:44.390" v="2210"/>
          <ac:spMkLst>
            <pc:docMk/>
            <pc:sldMk cId="195352575" sldId="269"/>
            <ac:spMk id="3" creationId="{9FD4B19A-C836-4F82-9392-73772680E99D}"/>
          </ac:spMkLst>
        </pc:spChg>
        <pc:spChg chg="add mod ord">
          <ac:chgData name="Florian Stallmann" userId="87adb65ad37b5729" providerId="LiveId" clId="{856E3AA4-9A73-4F9D-A541-147DF78E7425}" dt="2020-04-12T08:52:49.184" v="2222" actId="693"/>
          <ac:spMkLst>
            <pc:docMk/>
            <pc:sldMk cId="195352575" sldId="269"/>
            <ac:spMk id="6" creationId="{936C0C46-114D-4114-BAE3-301708EAEA3E}"/>
          </ac:spMkLst>
        </pc:spChg>
      </pc:sldChg>
      <pc:sldChg chg="addSp modSp add del ord modTransition">
        <pc:chgData name="Florian Stallmann" userId="87adb65ad37b5729" providerId="LiveId" clId="{856E3AA4-9A73-4F9D-A541-147DF78E7425}" dt="2020-04-12T08:53:52.933" v="2456" actId="2696"/>
        <pc:sldMkLst>
          <pc:docMk/>
          <pc:sldMk cId="2028515297" sldId="270"/>
        </pc:sldMkLst>
        <pc:spChg chg="mod">
          <ac:chgData name="Florian Stallmann" userId="87adb65ad37b5729" providerId="LiveId" clId="{856E3AA4-9A73-4F9D-A541-147DF78E7425}" dt="2020-04-12T08:53:19.840" v="2371"/>
          <ac:spMkLst>
            <pc:docMk/>
            <pc:sldMk cId="2028515297" sldId="270"/>
            <ac:spMk id="3" creationId="{9FD4B19A-C836-4F82-9392-73772680E99D}"/>
          </ac:spMkLst>
        </pc:spChg>
        <pc:spChg chg="add mod ord">
          <ac:chgData name="Florian Stallmann" userId="87adb65ad37b5729" providerId="LiveId" clId="{856E3AA4-9A73-4F9D-A541-147DF78E7425}" dt="2020-04-12T08:53:19.827" v="2366"/>
          <ac:spMkLst>
            <pc:docMk/>
            <pc:sldMk cId="2028515297" sldId="270"/>
            <ac:spMk id="9" creationId="{3DD21CCC-C2C2-43A2-A9DF-D16872BB4002}"/>
          </ac:spMkLst>
        </pc:spChg>
      </pc:sldChg>
      <pc:sldChg chg="modSp add del ord modTransition">
        <pc:chgData name="Florian Stallmann" userId="87adb65ad37b5729" providerId="LiveId" clId="{856E3AA4-9A73-4F9D-A541-147DF78E7425}" dt="2020-04-12T08:53:18.258" v="2336"/>
        <pc:sldMkLst>
          <pc:docMk/>
          <pc:sldMk cId="4151955551" sldId="270"/>
        </pc:sldMkLst>
        <pc:spChg chg="mod">
          <ac:chgData name="Florian Stallmann" userId="87adb65ad37b5729" providerId="LiveId" clId="{856E3AA4-9A73-4F9D-A541-147DF78E7425}" dt="2020-04-12T08:53:13.009" v="2249"/>
          <ac:spMkLst>
            <pc:docMk/>
            <pc:sldMk cId="4151955551" sldId="270"/>
            <ac:spMk id="3" creationId="{9FD4B19A-C836-4F82-9392-73772680E99D}"/>
          </ac:spMkLst>
        </pc:spChg>
        <pc:spChg chg="mod">
          <ac:chgData name="Florian Stallmann" userId="87adb65ad37b5729" providerId="LiveId" clId="{856E3AA4-9A73-4F9D-A541-147DF78E7425}" dt="2020-04-12T08:53:18.258" v="2336"/>
          <ac:spMkLst>
            <pc:docMk/>
            <pc:sldMk cId="4151955551" sldId="270"/>
            <ac:spMk id="6" creationId="{1A49C571-5544-453B-ADC0-976BF8613F7F}"/>
          </ac:spMkLst>
        </pc:spChg>
      </pc:sldChg>
      <pc:sldChg chg="addSp modSp add del ord modTransition">
        <pc:chgData name="Florian Stallmann" userId="87adb65ad37b5729" providerId="LiveId" clId="{856E3AA4-9A73-4F9D-A541-147DF78E7425}" dt="2020-04-12T08:53:52.936" v="2457" actId="2696"/>
        <pc:sldMkLst>
          <pc:docMk/>
          <pc:sldMk cId="1346629544" sldId="271"/>
        </pc:sldMkLst>
        <pc:spChg chg="mod">
          <ac:chgData name="Florian Stallmann" userId="87adb65ad37b5729" providerId="LiveId" clId="{856E3AA4-9A73-4F9D-A541-147DF78E7425}" dt="2020-04-12T08:53:19.896" v="2407"/>
          <ac:spMkLst>
            <pc:docMk/>
            <pc:sldMk cId="1346629544" sldId="271"/>
            <ac:spMk id="3" creationId="{9FD4B19A-C836-4F82-9392-73772680E99D}"/>
          </ac:spMkLst>
        </pc:spChg>
        <pc:spChg chg="add mod ord">
          <ac:chgData name="Florian Stallmann" userId="87adb65ad37b5729" providerId="LiveId" clId="{856E3AA4-9A73-4F9D-A541-147DF78E7425}" dt="2020-04-12T08:53:19.891" v="2402"/>
          <ac:spMkLst>
            <pc:docMk/>
            <pc:sldMk cId="1346629544" sldId="271"/>
            <ac:spMk id="9" creationId="{1D32BC33-0A75-4D69-BBEA-E1B30B5432B5}"/>
          </ac:spMkLst>
        </pc:spChg>
      </pc:sldChg>
      <pc:sldChg chg="modSp add del ord modTransition">
        <pc:chgData name="Florian Stallmann" userId="87adb65ad37b5729" providerId="LiveId" clId="{856E3AA4-9A73-4F9D-A541-147DF78E7425}" dt="2020-04-12T08:53:18.258" v="2336"/>
        <pc:sldMkLst>
          <pc:docMk/>
          <pc:sldMk cId="2235921810" sldId="271"/>
        </pc:sldMkLst>
        <pc:spChg chg="mod">
          <ac:chgData name="Florian Stallmann" userId="87adb65ad37b5729" providerId="LiveId" clId="{856E3AA4-9A73-4F9D-A541-147DF78E7425}" dt="2020-04-12T08:53:13.030" v="2274"/>
          <ac:spMkLst>
            <pc:docMk/>
            <pc:sldMk cId="2235921810" sldId="271"/>
            <ac:spMk id="3" creationId="{9FD4B19A-C836-4F82-9392-73772680E99D}"/>
          </ac:spMkLst>
        </pc:spChg>
        <pc:spChg chg="mod">
          <ac:chgData name="Florian Stallmann" userId="87adb65ad37b5729" providerId="LiveId" clId="{856E3AA4-9A73-4F9D-A541-147DF78E7425}" dt="2020-04-12T08:53:18.258" v="2336"/>
          <ac:spMkLst>
            <pc:docMk/>
            <pc:sldMk cId="2235921810" sldId="271"/>
            <ac:spMk id="6" creationId="{1A49C571-5544-453B-ADC0-976BF8613F7F}"/>
          </ac:spMkLst>
        </pc:spChg>
      </pc:sldChg>
      <pc:sldChg chg="addSp modSp add del ord modTransition">
        <pc:chgData name="Florian Stallmann" userId="87adb65ad37b5729" providerId="LiveId" clId="{856E3AA4-9A73-4F9D-A541-147DF78E7425}" dt="2020-04-12T08:53:52.939" v="2458" actId="2696"/>
        <pc:sldMkLst>
          <pc:docMk/>
          <pc:sldMk cId="614621261" sldId="272"/>
        </pc:sldMkLst>
        <pc:spChg chg="mod">
          <ac:chgData name="Florian Stallmann" userId="87adb65ad37b5729" providerId="LiveId" clId="{856E3AA4-9A73-4F9D-A541-147DF78E7425}" dt="2020-04-12T08:53:19.938" v="2443"/>
          <ac:spMkLst>
            <pc:docMk/>
            <pc:sldMk cId="614621261" sldId="272"/>
            <ac:spMk id="3" creationId="{9FD4B19A-C836-4F82-9392-73772680E99D}"/>
          </ac:spMkLst>
        </pc:spChg>
        <pc:spChg chg="add mod ord">
          <ac:chgData name="Florian Stallmann" userId="87adb65ad37b5729" providerId="LiveId" clId="{856E3AA4-9A73-4F9D-A541-147DF78E7425}" dt="2020-04-12T08:53:19.932" v="2438"/>
          <ac:spMkLst>
            <pc:docMk/>
            <pc:sldMk cId="614621261" sldId="272"/>
            <ac:spMk id="9" creationId="{D9578A29-3A15-453E-A663-D283FE635909}"/>
          </ac:spMkLst>
        </pc:spChg>
      </pc:sldChg>
      <pc:sldChg chg="modSp add del ord modTransition">
        <pc:chgData name="Florian Stallmann" userId="87adb65ad37b5729" providerId="LiveId" clId="{856E3AA4-9A73-4F9D-A541-147DF78E7425}" dt="2020-04-12T08:53:18.258" v="2336"/>
        <pc:sldMkLst>
          <pc:docMk/>
          <pc:sldMk cId="4081585395" sldId="272"/>
        </pc:sldMkLst>
        <pc:spChg chg="mod">
          <ac:chgData name="Florian Stallmann" userId="87adb65ad37b5729" providerId="LiveId" clId="{856E3AA4-9A73-4F9D-A541-147DF78E7425}" dt="2020-04-12T08:53:13.057" v="2299"/>
          <ac:spMkLst>
            <pc:docMk/>
            <pc:sldMk cId="4081585395" sldId="272"/>
            <ac:spMk id="3" creationId="{9FD4B19A-C836-4F82-9392-73772680E99D}"/>
          </ac:spMkLst>
        </pc:spChg>
        <pc:spChg chg="mod">
          <ac:chgData name="Florian Stallmann" userId="87adb65ad37b5729" providerId="LiveId" clId="{856E3AA4-9A73-4F9D-A541-147DF78E7425}" dt="2020-04-12T08:53:18.258" v="2336"/>
          <ac:spMkLst>
            <pc:docMk/>
            <pc:sldMk cId="4081585395" sldId="272"/>
            <ac:spMk id="6" creationId="{1A49C571-5544-453B-ADC0-976BF8613F7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7.04.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7.04.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7.04.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7.04.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dirty="0"/>
              <a:t>Mastertitelformat bearbeiten</a:t>
            </a:r>
          </a:p>
        </p:txBody>
      </p:sp>
      <p:sp>
        <p:nvSpPr>
          <p:cNvPr id="6" name="Datumsplatzhalter 5"/>
          <p:cNvSpPr>
            <a:spLocks noGrp="1"/>
          </p:cNvSpPr>
          <p:nvPr>
            <p:ph type="dt" sz="half" idx="18"/>
          </p:nvPr>
        </p:nvSpPr>
        <p:spPr/>
        <p:txBody>
          <a:bodyPr/>
          <a:lstStyle/>
          <a:p>
            <a:fld id="{146DBEAB-51C5-4FBE-9B54-BC8F608043B0}" type="datetime1">
              <a:rPr lang="de-DE" smtClean="0"/>
              <a:t>27.04.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7.04.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7.04.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7.04.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7.04.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dirty="0"/>
              <a:t>Mastertitelformat bearbeiten</a:t>
            </a:r>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7.04.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7.04.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7.04.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7.04.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7.04.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7.png"/><Relationship Id="rId5" Type="http://schemas.openxmlformats.org/officeDocument/2006/relationships/slideLayout" Target="../slideLayouts/slideLayout6.xml"/><Relationship Id="rId4" Type="http://schemas.openxmlformats.org/officeDocument/2006/relationships/tags" Target="../tags/tag7.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tags" Target="../tags/tag12.xml"/><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tags" Target="../tags/tag11.xml"/><Relationship Id="rId16" Type="http://schemas.openxmlformats.org/officeDocument/2006/relationships/image" Target="../media/image49.png"/><Relationship Id="rId1" Type="http://schemas.openxmlformats.org/officeDocument/2006/relationships/vmlDrawing" Target="../drawings/vmlDrawing2.vml"/><Relationship Id="rId6" Type="http://schemas.openxmlformats.org/officeDocument/2006/relationships/image" Target="../media/image39.emf"/><Relationship Id="rId11" Type="http://schemas.openxmlformats.org/officeDocument/2006/relationships/image" Target="../media/image44.png"/><Relationship Id="rId5" Type="http://schemas.openxmlformats.org/officeDocument/2006/relationships/oleObject" Target="../embeddings/oleObject2.bin"/><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slideLayout" Target="../slideLayouts/slideLayout12.xml"/><Relationship Id="rId9" Type="http://schemas.openxmlformats.org/officeDocument/2006/relationships/image" Target="../media/image42.png"/><Relationship Id="rId14" Type="http://schemas.openxmlformats.org/officeDocument/2006/relationships/image" Target="../media/image47.png"/></Relationships>
</file>

<file path=ppt/slides/_rels/slide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3" Type="http://schemas.openxmlformats.org/officeDocument/2006/relationships/tags" Target="../tags/tag14.xml"/><Relationship Id="rId21" Type="http://schemas.openxmlformats.org/officeDocument/2006/relationships/image" Target="../media/image64.png"/><Relationship Id="rId7" Type="http://schemas.openxmlformats.org/officeDocument/2006/relationships/image" Target="../media/image39.emf"/><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2" Type="http://schemas.openxmlformats.org/officeDocument/2006/relationships/tags" Target="../tags/tag13.xml"/><Relationship Id="rId16" Type="http://schemas.openxmlformats.org/officeDocument/2006/relationships/image" Target="../media/image59.png"/><Relationship Id="rId20" Type="http://schemas.openxmlformats.org/officeDocument/2006/relationships/image" Target="../media/image63.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54.png"/><Relationship Id="rId24" Type="http://schemas.openxmlformats.org/officeDocument/2006/relationships/image" Target="../media/image67.png"/><Relationship Id="rId5" Type="http://schemas.openxmlformats.org/officeDocument/2006/relationships/slideLayout" Target="../slideLayouts/slideLayout12.xml"/><Relationship Id="rId15" Type="http://schemas.openxmlformats.org/officeDocument/2006/relationships/image" Target="../media/image58.png"/><Relationship Id="rId23" Type="http://schemas.openxmlformats.org/officeDocument/2006/relationships/image" Target="../media/image66.png"/><Relationship Id="rId10" Type="http://schemas.openxmlformats.org/officeDocument/2006/relationships/image" Target="../media/image53.png"/><Relationship Id="rId19" Type="http://schemas.openxmlformats.org/officeDocument/2006/relationships/image" Target="../media/image62.png"/><Relationship Id="rId4" Type="http://schemas.openxmlformats.org/officeDocument/2006/relationships/tags" Target="../tags/tag15.xml"/><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s>
</file>

<file path=ppt/slides/_rels/slide19.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tags" Target="../tags/tag17.xml"/><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39.emf"/><Relationship Id="rId11" Type="http://schemas.openxmlformats.org/officeDocument/2006/relationships/image" Target="../media/image73.png"/><Relationship Id="rId5" Type="http://schemas.openxmlformats.org/officeDocument/2006/relationships/oleObject" Target="../embeddings/oleObject4.bin"/><Relationship Id="rId15" Type="http://schemas.openxmlformats.org/officeDocument/2006/relationships/image" Target="../media/image77.png"/><Relationship Id="rId10" Type="http://schemas.openxmlformats.org/officeDocument/2006/relationships/image" Target="../media/image72.png"/><Relationship Id="rId4" Type="http://schemas.openxmlformats.org/officeDocument/2006/relationships/slideLayout" Target="../slideLayouts/slideLayout12.xml"/><Relationship Id="rId9" Type="http://schemas.openxmlformats.org/officeDocument/2006/relationships/image" Target="../media/image71.png"/><Relationship Id="rId14" Type="http://schemas.openxmlformats.org/officeDocument/2006/relationships/image" Target="../media/image76.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tags" Target="../tags/tag19.xml"/><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tags" Target="../tags/tag18.xml"/><Relationship Id="rId16" Type="http://schemas.openxmlformats.org/officeDocument/2006/relationships/image" Target="../media/image88.png"/><Relationship Id="rId1" Type="http://schemas.openxmlformats.org/officeDocument/2006/relationships/vmlDrawing" Target="../drawings/vmlDrawing5.vml"/><Relationship Id="rId6" Type="http://schemas.openxmlformats.org/officeDocument/2006/relationships/image" Target="../media/image78.emf"/><Relationship Id="rId11" Type="http://schemas.openxmlformats.org/officeDocument/2006/relationships/image" Target="../media/image83.png"/><Relationship Id="rId5" Type="http://schemas.openxmlformats.org/officeDocument/2006/relationships/oleObject" Target="../embeddings/oleObject5.bin"/><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slideLayout" Target="../slideLayouts/slideLayout12.xml"/><Relationship Id="rId9" Type="http://schemas.openxmlformats.org/officeDocument/2006/relationships/image" Target="../media/image81.png"/><Relationship Id="rId14" Type="http://schemas.openxmlformats.org/officeDocument/2006/relationships/image" Target="../media/image86.png"/></Relationships>
</file>

<file path=ppt/slides/_rels/slide21.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3" Type="http://schemas.openxmlformats.org/officeDocument/2006/relationships/tags" Target="../tags/tag21.xml"/><Relationship Id="rId7" Type="http://schemas.openxmlformats.org/officeDocument/2006/relationships/image" Target="../media/image90.png"/><Relationship Id="rId12" Type="http://schemas.openxmlformats.org/officeDocument/2006/relationships/image" Target="../media/image95.png"/><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image" Target="../media/image39.emf"/><Relationship Id="rId11" Type="http://schemas.openxmlformats.org/officeDocument/2006/relationships/image" Target="../media/image94.png"/><Relationship Id="rId5" Type="http://schemas.openxmlformats.org/officeDocument/2006/relationships/oleObject" Target="../embeddings/oleObject6.bin"/><Relationship Id="rId15" Type="http://schemas.openxmlformats.org/officeDocument/2006/relationships/image" Target="../media/image98.png"/><Relationship Id="rId10" Type="http://schemas.openxmlformats.org/officeDocument/2006/relationships/image" Target="../media/image93.png"/><Relationship Id="rId4" Type="http://schemas.openxmlformats.org/officeDocument/2006/relationships/slideLayout" Target="../slideLayouts/slideLayout12.xml"/><Relationship Id="rId9" Type="http://schemas.openxmlformats.org/officeDocument/2006/relationships/image" Target="../media/image92.png"/><Relationship Id="rId14" Type="http://schemas.openxmlformats.org/officeDocument/2006/relationships/image" Target="../media/image97.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a:t>BKT v2.7.0</a:t>
            </a:r>
            <a:endParaRPr lang="de-DE" dirty="0"/>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646331"/>
          </a:xfrm>
          <a:prstGeom prst="rect">
            <a:avLst/>
          </a:prstGeom>
          <a:noFill/>
        </p:spPr>
        <p:txBody>
          <a:bodyPr wrap="square" rtlCol="0">
            <a:spAutoFit/>
          </a:bodyPr>
          <a:lstStyle/>
          <a:p>
            <a:r>
              <a:rPr lang="de-DE" dirty="0"/>
              <a:t>Agenda-</a:t>
            </a:r>
            <a:r>
              <a:rPr lang="de-DE" dirty="0" err="1"/>
              <a:t>Textboxen</a:t>
            </a:r>
            <a:r>
              <a:rPr lang="de-DE" dirty="0"/>
              <a:t> haben nun auch ein kleines Popup</a:t>
            </a: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0" name="Grafik 9">
            <a:extLst>
              <a:ext uri="{FF2B5EF4-FFF2-40B4-BE49-F238E27FC236}">
                <a16:creationId xmlns:a16="http://schemas.microsoft.com/office/drawing/2014/main" id="{63C75BFB-B706-45A8-B059-36817C8D9043}"/>
              </a:ext>
            </a:extLst>
          </p:cNvPr>
          <p:cNvPicPr>
            <a:picLocks noChangeAspect="1"/>
          </p:cNvPicPr>
          <p:nvPr/>
        </p:nvPicPr>
        <p:blipFill>
          <a:blip r:embed="rId5"/>
          <a:stretch>
            <a:fillRect/>
          </a:stretch>
        </p:blipFill>
        <p:spPr>
          <a:xfrm>
            <a:off x="2263719" y="2590438"/>
            <a:ext cx="1238713" cy="904084"/>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17" name="Grafik 16">
            <a:extLst>
              <a:ext uri="{FF2B5EF4-FFF2-40B4-BE49-F238E27FC236}">
                <a16:creationId xmlns:a16="http://schemas.microsoft.com/office/drawing/2014/main" id="{90E12B39-A5DE-40F9-BCB1-C63B7D348458}"/>
              </a:ext>
            </a:extLst>
          </p:cNvPr>
          <p:cNvPicPr>
            <a:picLocks noChangeAspect="1"/>
          </p:cNvPicPr>
          <p:nvPr>
            <p:custDataLst>
              <p:tags r:id="rId3"/>
            </p:custDataLst>
          </p:nvPr>
        </p:nvPicPr>
        <p:blipFill rotWithShape="1">
          <a:blip r:embed="rId7"/>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spTree>
    <p:extLst>
      <p:ext uri="{BB962C8B-B14F-4D97-AF65-F5344CB8AC3E}">
        <p14:creationId xmlns:p14="http://schemas.microsoft.com/office/powerpoint/2010/main" val="1327573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1"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5"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9"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3"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4" name="Grafik 3">
            <a:extLst>
              <a:ext uri="{FF2B5EF4-FFF2-40B4-BE49-F238E27FC236}">
                <a16:creationId xmlns:a16="http://schemas.microsoft.com/office/drawing/2014/main" id="{247CD00D-AA23-4240-9D45-B46CDCA9DB18}"/>
              </a:ext>
            </a:extLst>
          </p:cNvPr>
          <p:cNvPicPr>
            <a:picLocks noChangeAspect="1"/>
          </p:cNvPicPr>
          <p:nvPr/>
        </p:nvPicPr>
        <p:blipFill>
          <a:blip r:embed="rId7"/>
          <a:stretch>
            <a:fillRect/>
          </a:stretch>
        </p:blipFill>
        <p:spPr>
          <a:xfrm>
            <a:off x="505596" y="1871472"/>
            <a:ext cx="3257732"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5.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2.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3.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6.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7.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8.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806</Words>
  <Application>Microsoft Office PowerPoint</Application>
  <PresentationFormat>Breitbild</PresentationFormat>
  <Paragraphs>100</Paragraphs>
  <Slides>2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1</vt:i4>
      </vt:variant>
    </vt:vector>
  </HeadingPairs>
  <TitlesOfParts>
    <vt:vector size="27" baseType="lpstr">
      <vt:lpstr>Arial</vt:lpstr>
      <vt:lpstr>Calibri</vt:lpstr>
      <vt:lpstr>Consolas</vt:lpstr>
      <vt:lpstr>Verdana</vt:lpstr>
      <vt:lpstr>Office</vt:lpstr>
      <vt:lpstr>think-cell Folie</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0</dc:title>
  <dc:creator>Florian Stallmann</dc:creator>
  <cp:lastModifiedBy>Florian Stallmann</cp:lastModifiedBy>
  <cp:revision>28</cp:revision>
  <dcterms:created xsi:type="dcterms:W3CDTF">2020-04-08T16:52:36Z</dcterms:created>
  <dcterms:modified xsi:type="dcterms:W3CDTF">2020-04-27T14:25:32Z</dcterms:modified>
</cp:coreProperties>
</file>